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9" r:id="rId4"/>
    <p:sldMasterId id="2147484442" r:id="rId5"/>
    <p:sldMasterId id="2147484459" r:id="rId6"/>
  </p:sldMasterIdLst>
  <p:notesMasterIdLst>
    <p:notesMasterId r:id="rId16"/>
  </p:notesMasterIdLst>
  <p:handoutMasterIdLst>
    <p:handoutMasterId r:id="rId17"/>
  </p:handoutMasterIdLst>
  <p:sldIdLst>
    <p:sldId id="256" r:id="rId7"/>
    <p:sldId id="2147378308" r:id="rId8"/>
    <p:sldId id="2147378309" r:id="rId9"/>
    <p:sldId id="2147378310" r:id="rId10"/>
    <p:sldId id="2147378311" r:id="rId11"/>
    <p:sldId id="2147378312" r:id="rId12"/>
    <p:sldId id="2147378313" r:id="rId13"/>
    <p:sldId id="2147378314" r:id="rId14"/>
    <p:sldId id="2147378315" r:id="rId15"/>
  </p:sldIdLst>
  <p:sldSz cx="12192000" cy="6858000"/>
  <p:notesSz cx="6797675" cy="9926638"/>
  <p:custDataLst>
    <p:tags r:id="rId18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519475" algn="l" rtl="0" fontAlgn="base">
      <a:spcBef>
        <a:spcPct val="0"/>
      </a:spcBef>
      <a:spcAft>
        <a:spcPct val="0"/>
      </a:spcAft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1038951" algn="l" rtl="0" fontAlgn="base">
      <a:spcBef>
        <a:spcPct val="0"/>
      </a:spcBef>
      <a:spcAft>
        <a:spcPct val="0"/>
      </a:spcAft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558426" algn="l" rtl="0" fontAlgn="base">
      <a:spcBef>
        <a:spcPct val="0"/>
      </a:spcBef>
      <a:spcAft>
        <a:spcPct val="0"/>
      </a:spcAft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2077900" algn="l" rtl="0" fontAlgn="base">
      <a:spcBef>
        <a:spcPct val="0"/>
      </a:spcBef>
      <a:spcAft>
        <a:spcPct val="0"/>
      </a:spcAft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597375" algn="l" defTabSz="519475" rtl="0" eaLnBrk="1" latinLnBrk="0" hangingPunct="1"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3116851" algn="l" defTabSz="519475" rtl="0" eaLnBrk="1" latinLnBrk="0" hangingPunct="1"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636326" algn="l" defTabSz="519475" rtl="0" eaLnBrk="1" latinLnBrk="0" hangingPunct="1"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4155801" algn="l" defTabSz="519475" rtl="0" eaLnBrk="1" latinLnBrk="0" hangingPunct="1"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AC103541-D793-4866-95D3-53A936D4C639}">
          <p14:sldIdLst>
            <p14:sldId id="256"/>
            <p14:sldId id="2147378308"/>
            <p14:sldId id="2147378309"/>
            <p14:sldId id="2147378310"/>
            <p14:sldId id="2147378311"/>
            <p14:sldId id="2147378312"/>
            <p14:sldId id="2147378313"/>
            <p14:sldId id="2147378314"/>
            <p14:sldId id="214737831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pos="3727" userDrawn="1">
          <p15:clr>
            <a:srgbClr val="A4A3A4"/>
          </p15:clr>
        </p15:guide>
        <p15:guide id="5" pos="393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лександр Овсянников" initials="АО" lastIdx="1" clrIdx="0">
    <p:extLst>
      <p:ext uri="{19B8F6BF-5375-455C-9EA6-DF929625EA0E}">
        <p15:presenceInfo xmlns:p15="http://schemas.microsoft.com/office/powerpoint/2012/main" userId="S::aovsyannikov@sbs-consulting.ru::1f409477-affa-4163-b291-621239166e02" providerId="AD"/>
      </p:ext>
    </p:extLst>
  </p:cmAuthor>
  <p:cmAuthor id="2" name="nikitchenko_a@outlook.com" initials="n" lastIdx="3" clrIdx="1"/>
  <p:cmAuthor id="3" name="Nagibin Evgeny" initials="NE" lastIdx="3" clrIdx="2">
    <p:extLst>
      <p:ext uri="{19B8F6BF-5375-455C-9EA6-DF929625EA0E}">
        <p15:presenceInfo xmlns:p15="http://schemas.microsoft.com/office/powerpoint/2012/main" userId="df01c6f7fc4c567d" providerId="Windows Live"/>
      </p:ext>
    </p:extLst>
  </p:cmAuthor>
  <p:cmAuthor id="4" name="Пользователь" initials="П" lastIdx="1" clrIdx="3">
    <p:extLst>
      <p:ext uri="{19B8F6BF-5375-455C-9EA6-DF929625EA0E}">
        <p15:presenceInfo xmlns:p15="http://schemas.microsoft.com/office/powerpoint/2012/main" userId="Пользователь" providerId="None"/>
      </p:ext>
    </p:extLst>
  </p:cmAuthor>
  <p:cmAuthor id="5" name="Филипп Данько" initials="ФД" lastIdx="3" clrIdx="4">
    <p:extLst>
      <p:ext uri="{19B8F6BF-5375-455C-9EA6-DF929625EA0E}">
        <p15:presenceInfo xmlns:p15="http://schemas.microsoft.com/office/powerpoint/2012/main" userId="Филипп Данько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347C"/>
    <a:srgbClr val="3BA2FF"/>
    <a:srgbClr val="07264D"/>
    <a:srgbClr val="FE8F00"/>
    <a:srgbClr val="FFDD00"/>
    <a:srgbClr val="EDEFF4"/>
    <a:srgbClr val="FAFAFA"/>
    <a:srgbClr val="F0F0F0"/>
    <a:srgbClr val="EAEAEA"/>
    <a:srgbClr val="FBFC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Темный стиль 2 —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19" autoAdjust="0"/>
    <p:restoredTop sz="92578" autoAdjust="0"/>
  </p:normalViewPr>
  <p:slideViewPr>
    <p:cSldViewPr snapToGrid="0">
      <p:cViewPr varScale="1">
        <p:scale>
          <a:sx n="90" d="100"/>
          <a:sy n="90" d="100"/>
        </p:scale>
        <p:origin x="156" y="84"/>
      </p:cViewPr>
      <p:guideLst>
        <p:guide orient="horz" pos="799"/>
        <p:guide pos="3840"/>
        <p:guide orient="horz" pos="2160"/>
        <p:guide pos="3727"/>
        <p:guide pos="393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6FBEF4D-45F4-074A-B58B-0787516935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A0A301-F0F0-F844-ACC6-36ED9123CB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CFB1DF-F6C5-794D-95B0-3F4B39E9714D}" type="datetimeFigureOut">
              <a:rPr lang="en-US" smtClean="0"/>
              <a:t>9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25CD0-06DB-2D41-947D-611429657D3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2ED8A0-2FC9-0541-B7C7-415EE24A3FB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83C34F-66E0-6144-BA02-240FF2F64D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8274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2945872" cy="497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24" tIns="45762" rIns="91524" bIns="45762" numCol="1" anchor="t" anchorCtr="0" compatLnSpc="1">
            <a:prstTxWarp prst="textNoShape">
              <a:avLst/>
            </a:prstTxWarp>
          </a:bodyPr>
          <a:lstStyle>
            <a:lvl1pPr defTabSz="914984">
              <a:defRPr sz="12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197" y="3"/>
            <a:ext cx="2945872" cy="497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24" tIns="45762" rIns="91524" bIns="45762" numCol="1" anchor="t" anchorCtr="0" compatLnSpc="1">
            <a:prstTxWarp prst="textNoShape">
              <a:avLst/>
            </a:prstTxWarp>
          </a:bodyPr>
          <a:lstStyle>
            <a:lvl1pPr algn="r" defTabSz="914984">
              <a:defRPr sz="12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17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" y="747713"/>
            <a:ext cx="6613525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1" y="4715477"/>
            <a:ext cx="5438783" cy="4466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24" tIns="45762" rIns="91524" bIns="457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27751"/>
            <a:ext cx="2945872" cy="497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24" tIns="45762" rIns="91524" bIns="45762" numCol="1" anchor="b" anchorCtr="0" compatLnSpc="1">
            <a:prstTxWarp prst="textNoShape">
              <a:avLst/>
            </a:prstTxWarp>
          </a:bodyPr>
          <a:lstStyle>
            <a:lvl1pPr defTabSz="914984">
              <a:defRPr sz="12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197" y="9427751"/>
            <a:ext cx="2945872" cy="497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24" tIns="45762" rIns="91524" bIns="45762" numCol="1" anchor="b" anchorCtr="0" compatLnSpc="1">
            <a:prstTxWarp prst="textNoShape">
              <a:avLst/>
            </a:prstTxWarp>
          </a:bodyPr>
          <a:lstStyle>
            <a:lvl1pPr algn="r" defTabSz="914984">
              <a:defRPr sz="1200"/>
            </a:lvl1pPr>
          </a:lstStyle>
          <a:p>
            <a:fld id="{BE4DA3E6-CE98-AC4D-A9E8-42655BF20A38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5600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364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1pPr>
    <a:lvl2pPr marL="519475" algn="l" rtl="0" eaLnBrk="0" fontAlgn="base" hangingPunct="0">
      <a:spcBef>
        <a:spcPct val="30000"/>
      </a:spcBef>
      <a:spcAft>
        <a:spcPct val="0"/>
      </a:spcAft>
      <a:defRPr sz="1364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2pPr>
    <a:lvl3pPr marL="1038951" algn="l" rtl="0" eaLnBrk="0" fontAlgn="base" hangingPunct="0">
      <a:spcBef>
        <a:spcPct val="30000"/>
      </a:spcBef>
      <a:spcAft>
        <a:spcPct val="0"/>
      </a:spcAft>
      <a:defRPr sz="1364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3pPr>
    <a:lvl4pPr marL="1558426" algn="l" rtl="0" eaLnBrk="0" fontAlgn="base" hangingPunct="0">
      <a:spcBef>
        <a:spcPct val="30000"/>
      </a:spcBef>
      <a:spcAft>
        <a:spcPct val="0"/>
      </a:spcAft>
      <a:defRPr sz="1364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4pPr>
    <a:lvl5pPr marL="2077900" algn="l" rtl="0" eaLnBrk="0" fontAlgn="base" hangingPunct="0">
      <a:spcBef>
        <a:spcPct val="30000"/>
      </a:spcBef>
      <a:spcAft>
        <a:spcPct val="0"/>
      </a:spcAft>
      <a:defRPr sz="1364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5pPr>
    <a:lvl6pPr marL="2597375" algn="l" defTabSz="1038951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6pPr>
    <a:lvl7pPr marL="3116851" algn="l" defTabSz="1038951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7pPr>
    <a:lvl8pPr marL="3636326" algn="l" defTabSz="1038951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8pPr>
    <a:lvl9pPr marL="4155801" algn="l" defTabSz="1038951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gradFill>
          <a:gsLst>
            <a:gs pos="10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93913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6" name="Graphic 122">
            <a:extLst>
              <a:ext uri="{FF2B5EF4-FFF2-40B4-BE49-F238E27FC236}">
                <a16:creationId xmlns:a16="http://schemas.microsoft.com/office/drawing/2014/main" id="{BC8B2B37-B07F-9248-A69D-747BC3D594F6}"/>
              </a:ext>
            </a:extLst>
          </p:cNvPr>
          <p:cNvGrpSpPr/>
          <p:nvPr userDrawn="1"/>
        </p:nvGrpSpPr>
        <p:grpSpPr>
          <a:xfrm>
            <a:off x="1563465" y="944855"/>
            <a:ext cx="291284" cy="296931"/>
            <a:chOff x="7812275" y="2926746"/>
            <a:chExt cx="3880361" cy="3955593"/>
          </a:xfrm>
          <a:solidFill>
            <a:schemeClr val="bg1">
              <a:alpha val="64000"/>
            </a:schemeClr>
          </a:solidFill>
        </p:grpSpPr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18BD5040-D9A3-704D-8F8F-1923F1F56E6B}"/>
                </a:ext>
              </a:extLst>
            </p:cNvPr>
            <p:cNvSpPr/>
            <p:nvPr/>
          </p:nvSpPr>
          <p:spPr>
            <a:xfrm>
              <a:off x="7812275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486706FA-4114-1A43-9B20-A4727093BBF4}"/>
                </a:ext>
              </a:extLst>
            </p:cNvPr>
            <p:cNvSpPr/>
            <p:nvPr/>
          </p:nvSpPr>
          <p:spPr>
            <a:xfrm>
              <a:off x="9179801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1AE01166-8421-854A-8ACB-87E4A37AE2AB}"/>
                </a:ext>
              </a:extLst>
            </p:cNvPr>
            <p:cNvSpPr/>
            <p:nvPr/>
          </p:nvSpPr>
          <p:spPr>
            <a:xfrm>
              <a:off x="10547327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E46D0A3E-436B-774B-A9EC-D35AD78516D5}"/>
                </a:ext>
              </a:extLst>
            </p:cNvPr>
            <p:cNvSpPr/>
            <p:nvPr/>
          </p:nvSpPr>
          <p:spPr>
            <a:xfrm>
              <a:off x="7812275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 130">
              <a:extLst>
                <a:ext uri="{FF2B5EF4-FFF2-40B4-BE49-F238E27FC236}">
                  <a16:creationId xmlns:a16="http://schemas.microsoft.com/office/drawing/2014/main" id="{ECDFD785-A22E-5A4F-B072-A6462E0B3A84}"/>
                </a:ext>
              </a:extLst>
            </p:cNvPr>
            <p:cNvSpPr/>
            <p:nvPr/>
          </p:nvSpPr>
          <p:spPr>
            <a:xfrm>
              <a:off x="9179801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 131">
              <a:extLst>
                <a:ext uri="{FF2B5EF4-FFF2-40B4-BE49-F238E27FC236}">
                  <a16:creationId xmlns:a16="http://schemas.microsoft.com/office/drawing/2014/main" id="{2054912E-3892-DD41-ACAB-9C828D4BB97C}"/>
                </a:ext>
              </a:extLst>
            </p:cNvPr>
            <p:cNvSpPr/>
            <p:nvPr/>
          </p:nvSpPr>
          <p:spPr>
            <a:xfrm>
              <a:off x="10547327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 132">
              <a:extLst>
                <a:ext uri="{FF2B5EF4-FFF2-40B4-BE49-F238E27FC236}">
                  <a16:creationId xmlns:a16="http://schemas.microsoft.com/office/drawing/2014/main" id="{39C2451E-E14A-8E4A-82D5-7B01521C462E}"/>
                </a:ext>
              </a:extLst>
            </p:cNvPr>
            <p:cNvSpPr/>
            <p:nvPr/>
          </p:nvSpPr>
          <p:spPr>
            <a:xfrm>
              <a:off x="7812275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 133">
              <a:extLst>
                <a:ext uri="{FF2B5EF4-FFF2-40B4-BE49-F238E27FC236}">
                  <a16:creationId xmlns:a16="http://schemas.microsoft.com/office/drawing/2014/main" id="{ABD3A0D5-E436-9F4B-962C-B40AB9F42402}"/>
                </a:ext>
              </a:extLst>
            </p:cNvPr>
            <p:cNvSpPr/>
            <p:nvPr/>
          </p:nvSpPr>
          <p:spPr>
            <a:xfrm>
              <a:off x="9179801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 134">
              <a:extLst>
                <a:ext uri="{FF2B5EF4-FFF2-40B4-BE49-F238E27FC236}">
                  <a16:creationId xmlns:a16="http://schemas.microsoft.com/office/drawing/2014/main" id="{A11A6C87-546C-8F4C-A406-6E976964DDD7}"/>
                </a:ext>
              </a:extLst>
            </p:cNvPr>
            <p:cNvSpPr/>
            <p:nvPr/>
          </p:nvSpPr>
          <p:spPr>
            <a:xfrm>
              <a:off x="10547327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7" name="Freeform 136">
            <a:extLst>
              <a:ext uri="{FF2B5EF4-FFF2-40B4-BE49-F238E27FC236}">
                <a16:creationId xmlns:a16="http://schemas.microsoft.com/office/drawing/2014/main" id="{35179DCD-C738-A94B-A7D2-06AD11198EC5}"/>
              </a:ext>
            </a:extLst>
          </p:cNvPr>
          <p:cNvSpPr/>
          <p:nvPr/>
        </p:nvSpPr>
        <p:spPr>
          <a:xfrm>
            <a:off x="1292712" y="1036634"/>
            <a:ext cx="99576" cy="99748"/>
          </a:xfrm>
          <a:custGeom>
            <a:avLst/>
            <a:gdLst>
              <a:gd name="connsiteX0" fmla="*/ 0 w 1326503"/>
              <a:gd name="connsiteY0" fmla="*/ 0 h 1328804"/>
              <a:gd name="connsiteX1" fmla="*/ 1326503 w 1326503"/>
              <a:gd name="connsiteY1" fmla="*/ 0 h 1328804"/>
              <a:gd name="connsiteX2" fmla="*/ 1326503 w 1326503"/>
              <a:gd name="connsiteY2" fmla="*/ 1328805 h 1328804"/>
              <a:gd name="connsiteX3" fmla="*/ 0 w 1326503"/>
              <a:gd name="connsiteY3" fmla="*/ 1328805 h 132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503" h="1328804">
                <a:moveTo>
                  <a:pt x="0" y="0"/>
                </a:moveTo>
                <a:lnTo>
                  <a:pt x="1326503" y="0"/>
                </a:lnTo>
                <a:lnTo>
                  <a:pt x="1326503" y="1328805"/>
                </a:lnTo>
                <a:lnTo>
                  <a:pt x="0" y="1328805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38" name="Freeform 137">
            <a:extLst>
              <a:ext uri="{FF2B5EF4-FFF2-40B4-BE49-F238E27FC236}">
                <a16:creationId xmlns:a16="http://schemas.microsoft.com/office/drawing/2014/main" id="{C8432FF6-52A7-2846-A8F7-FC292181C717}"/>
              </a:ext>
            </a:extLst>
          </p:cNvPr>
          <p:cNvSpPr/>
          <p:nvPr/>
        </p:nvSpPr>
        <p:spPr>
          <a:xfrm>
            <a:off x="1397420" y="1136383"/>
            <a:ext cx="99576" cy="99748"/>
          </a:xfrm>
          <a:custGeom>
            <a:avLst/>
            <a:gdLst>
              <a:gd name="connsiteX0" fmla="*/ 0 w 1326503"/>
              <a:gd name="connsiteY0" fmla="*/ 0 h 1328804"/>
              <a:gd name="connsiteX1" fmla="*/ 1326503 w 1326503"/>
              <a:gd name="connsiteY1" fmla="*/ 0 h 1328804"/>
              <a:gd name="connsiteX2" fmla="*/ 1326503 w 1326503"/>
              <a:gd name="connsiteY2" fmla="*/ 1328805 h 1328804"/>
              <a:gd name="connsiteX3" fmla="*/ 0 w 1326503"/>
              <a:gd name="connsiteY3" fmla="*/ 1328805 h 132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503" h="1328804">
                <a:moveTo>
                  <a:pt x="0" y="0"/>
                </a:moveTo>
                <a:lnTo>
                  <a:pt x="1326503" y="0"/>
                </a:lnTo>
                <a:lnTo>
                  <a:pt x="1326503" y="1328805"/>
                </a:lnTo>
                <a:lnTo>
                  <a:pt x="0" y="1328805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39" name="Freeform 138">
            <a:extLst>
              <a:ext uri="{FF2B5EF4-FFF2-40B4-BE49-F238E27FC236}">
                <a16:creationId xmlns:a16="http://schemas.microsoft.com/office/drawing/2014/main" id="{33B9A593-4F2E-D64D-BDEA-181F5781DE5A}"/>
              </a:ext>
            </a:extLst>
          </p:cNvPr>
          <p:cNvSpPr/>
          <p:nvPr/>
        </p:nvSpPr>
        <p:spPr>
          <a:xfrm>
            <a:off x="1417438" y="947426"/>
            <a:ext cx="71859" cy="71983"/>
          </a:xfrm>
          <a:custGeom>
            <a:avLst/>
            <a:gdLst>
              <a:gd name="connsiteX0" fmla="*/ 0 w 957270"/>
              <a:gd name="connsiteY0" fmla="*/ 0 h 958931"/>
              <a:gd name="connsiteX1" fmla="*/ 957270 w 957270"/>
              <a:gd name="connsiteY1" fmla="*/ 0 h 958931"/>
              <a:gd name="connsiteX2" fmla="*/ 957270 w 957270"/>
              <a:gd name="connsiteY2" fmla="*/ 958931 h 958931"/>
              <a:gd name="connsiteX3" fmla="*/ 0 w 957270"/>
              <a:gd name="connsiteY3" fmla="*/ 958931 h 95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270" h="958931">
                <a:moveTo>
                  <a:pt x="0" y="0"/>
                </a:moveTo>
                <a:lnTo>
                  <a:pt x="957270" y="0"/>
                </a:lnTo>
                <a:lnTo>
                  <a:pt x="957270" y="958931"/>
                </a:lnTo>
                <a:lnTo>
                  <a:pt x="0" y="958931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0" name="Freeform 139">
            <a:extLst>
              <a:ext uri="{FF2B5EF4-FFF2-40B4-BE49-F238E27FC236}">
                <a16:creationId xmlns:a16="http://schemas.microsoft.com/office/drawing/2014/main" id="{8C787F8F-676C-4E47-9D5D-A816CF58C220}"/>
              </a:ext>
            </a:extLst>
          </p:cNvPr>
          <p:cNvSpPr/>
          <p:nvPr/>
        </p:nvSpPr>
        <p:spPr>
          <a:xfrm>
            <a:off x="1203145" y="1162605"/>
            <a:ext cx="71859" cy="71983"/>
          </a:xfrm>
          <a:custGeom>
            <a:avLst/>
            <a:gdLst>
              <a:gd name="connsiteX0" fmla="*/ 0 w 957270"/>
              <a:gd name="connsiteY0" fmla="*/ 0 h 958931"/>
              <a:gd name="connsiteX1" fmla="*/ 957270 w 957270"/>
              <a:gd name="connsiteY1" fmla="*/ 0 h 958931"/>
              <a:gd name="connsiteX2" fmla="*/ 957270 w 957270"/>
              <a:gd name="connsiteY2" fmla="*/ 958931 h 958931"/>
              <a:gd name="connsiteX3" fmla="*/ 0 w 957270"/>
              <a:gd name="connsiteY3" fmla="*/ 958931 h 95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270" h="958931">
                <a:moveTo>
                  <a:pt x="0" y="0"/>
                </a:moveTo>
                <a:lnTo>
                  <a:pt x="957270" y="0"/>
                </a:lnTo>
                <a:lnTo>
                  <a:pt x="957270" y="958931"/>
                </a:lnTo>
                <a:lnTo>
                  <a:pt x="0" y="958931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1" name="Freeform 140">
            <a:extLst>
              <a:ext uri="{FF2B5EF4-FFF2-40B4-BE49-F238E27FC236}">
                <a16:creationId xmlns:a16="http://schemas.microsoft.com/office/drawing/2014/main" id="{4285A921-F02E-AB44-AEEB-D5D56E2D2147}"/>
              </a:ext>
            </a:extLst>
          </p:cNvPr>
          <p:cNvSpPr/>
          <p:nvPr/>
        </p:nvSpPr>
        <p:spPr>
          <a:xfrm>
            <a:off x="1203145" y="949997"/>
            <a:ext cx="53894" cy="53988"/>
          </a:xfrm>
          <a:custGeom>
            <a:avLst/>
            <a:gdLst>
              <a:gd name="connsiteX0" fmla="*/ 0 w 717952"/>
              <a:gd name="connsiteY0" fmla="*/ 0 h 719198"/>
              <a:gd name="connsiteX1" fmla="*/ 717953 w 717952"/>
              <a:gd name="connsiteY1" fmla="*/ 0 h 719198"/>
              <a:gd name="connsiteX2" fmla="*/ 717953 w 717952"/>
              <a:gd name="connsiteY2" fmla="*/ 719199 h 719198"/>
              <a:gd name="connsiteX3" fmla="*/ 0 w 717952"/>
              <a:gd name="connsiteY3" fmla="*/ 719199 h 71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952" h="719198">
                <a:moveTo>
                  <a:pt x="0" y="0"/>
                </a:moveTo>
                <a:lnTo>
                  <a:pt x="717953" y="0"/>
                </a:lnTo>
                <a:lnTo>
                  <a:pt x="717953" y="719199"/>
                </a:lnTo>
                <a:lnTo>
                  <a:pt x="0" y="719199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2" name="Freeform 141">
            <a:extLst>
              <a:ext uri="{FF2B5EF4-FFF2-40B4-BE49-F238E27FC236}">
                <a16:creationId xmlns:a16="http://schemas.microsoft.com/office/drawing/2014/main" id="{53251AD3-16FD-F54D-A012-96974B233FC8}"/>
              </a:ext>
            </a:extLst>
          </p:cNvPr>
          <p:cNvSpPr/>
          <p:nvPr/>
        </p:nvSpPr>
        <p:spPr>
          <a:xfrm>
            <a:off x="1344296" y="957709"/>
            <a:ext cx="53894" cy="53988"/>
          </a:xfrm>
          <a:custGeom>
            <a:avLst/>
            <a:gdLst>
              <a:gd name="connsiteX0" fmla="*/ 0 w 717952"/>
              <a:gd name="connsiteY0" fmla="*/ 0 h 719198"/>
              <a:gd name="connsiteX1" fmla="*/ 717953 w 717952"/>
              <a:gd name="connsiteY1" fmla="*/ 0 h 719198"/>
              <a:gd name="connsiteX2" fmla="*/ 717953 w 717952"/>
              <a:gd name="connsiteY2" fmla="*/ 719199 h 719198"/>
              <a:gd name="connsiteX3" fmla="*/ 0 w 717952"/>
              <a:gd name="connsiteY3" fmla="*/ 719199 h 71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952" h="719198">
                <a:moveTo>
                  <a:pt x="0" y="0"/>
                </a:moveTo>
                <a:lnTo>
                  <a:pt x="717953" y="0"/>
                </a:lnTo>
                <a:lnTo>
                  <a:pt x="717953" y="719199"/>
                </a:lnTo>
                <a:lnTo>
                  <a:pt x="0" y="719199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3" name="Freeform 142">
            <a:extLst>
              <a:ext uri="{FF2B5EF4-FFF2-40B4-BE49-F238E27FC236}">
                <a16:creationId xmlns:a16="http://schemas.microsoft.com/office/drawing/2014/main" id="{FE95D203-16E4-5345-BBD5-5CBB8957E32B}"/>
              </a:ext>
            </a:extLst>
          </p:cNvPr>
          <p:cNvSpPr/>
          <p:nvPr/>
        </p:nvSpPr>
        <p:spPr>
          <a:xfrm>
            <a:off x="1409739" y="1059515"/>
            <a:ext cx="58514" cy="58615"/>
          </a:xfrm>
          <a:custGeom>
            <a:avLst/>
            <a:gdLst>
              <a:gd name="connsiteX0" fmla="*/ 0 w 779491"/>
              <a:gd name="connsiteY0" fmla="*/ 0 h 780844"/>
              <a:gd name="connsiteX1" fmla="*/ 779492 w 779491"/>
              <a:gd name="connsiteY1" fmla="*/ 0 h 780844"/>
              <a:gd name="connsiteX2" fmla="*/ 779492 w 779491"/>
              <a:gd name="connsiteY2" fmla="*/ 780844 h 780844"/>
              <a:gd name="connsiteX3" fmla="*/ 0 w 779491"/>
              <a:gd name="connsiteY3" fmla="*/ 780844 h 78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491" h="780844">
                <a:moveTo>
                  <a:pt x="0" y="0"/>
                </a:moveTo>
                <a:lnTo>
                  <a:pt x="779492" y="0"/>
                </a:lnTo>
                <a:lnTo>
                  <a:pt x="779492" y="780844"/>
                </a:lnTo>
                <a:lnTo>
                  <a:pt x="0" y="78084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4" name="Freeform 143">
            <a:extLst>
              <a:ext uri="{FF2B5EF4-FFF2-40B4-BE49-F238E27FC236}">
                <a16:creationId xmlns:a16="http://schemas.microsoft.com/office/drawing/2014/main" id="{9A67F35D-C978-714A-91D8-0993C7A48710}"/>
              </a:ext>
            </a:extLst>
          </p:cNvPr>
          <p:cNvSpPr/>
          <p:nvPr/>
        </p:nvSpPr>
        <p:spPr>
          <a:xfrm>
            <a:off x="1297331" y="1152836"/>
            <a:ext cx="58514" cy="58615"/>
          </a:xfrm>
          <a:custGeom>
            <a:avLst/>
            <a:gdLst>
              <a:gd name="connsiteX0" fmla="*/ 0 w 779491"/>
              <a:gd name="connsiteY0" fmla="*/ 0 h 780844"/>
              <a:gd name="connsiteX1" fmla="*/ 779492 w 779491"/>
              <a:gd name="connsiteY1" fmla="*/ 0 h 780844"/>
              <a:gd name="connsiteX2" fmla="*/ 779492 w 779491"/>
              <a:gd name="connsiteY2" fmla="*/ 780844 h 780844"/>
              <a:gd name="connsiteX3" fmla="*/ 0 w 779491"/>
              <a:gd name="connsiteY3" fmla="*/ 780844 h 78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491" h="780844">
                <a:moveTo>
                  <a:pt x="0" y="0"/>
                </a:moveTo>
                <a:lnTo>
                  <a:pt x="779492" y="0"/>
                </a:lnTo>
                <a:lnTo>
                  <a:pt x="779492" y="780844"/>
                </a:lnTo>
                <a:lnTo>
                  <a:pt x="0" y="78084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5" name="Freeform 144">
            <a:extLst>
              <a:ext uri="{FF2B5EF4-FFF2-40B4-BE49-F238E27FC236}">
                <a16:creationId xmlns:a16="http://schemas.microsoft.com/office/drawing/2014/main" id="{DE95C6C6-C05E-6A4F-BC5A-33CD38B6435C}"/>
              </a:ext>
            </a:extLst>
          </p:cNvPr>
          <p:cNvSpPr/>
          <p:nvPr/>
        </p:nvSpPr>
        <p:spPr>
          <a:xfrm>
            <a:off x="1225986" y="1064913"/>
            <a:ext cx="42859" cy="42933"/>
          </a:xfrm>
          <a:custGeom>
            <a:avLst/>
            <a:gdLst>
              <a:gd name="connsiteX0" fmla="*/ 0 w 570943"/>
              <a:gd name="connsiteY0" fmla="*/ 0 h 571934"/>
              <a:gd name="connsiteX1" fmla="*/ 570943 w 570943"/>
              <a:gd name="connsiteY1" fmla="*/ 0 h 571934"/>
              <a:gd name="connsiteX2" fmla="*/ 570943 w 570943"/>
              <a:gd name="connsiteY2" fmla="*/ 571934 h 571934"/>
              <a:gd name="connsiteX3" fmla="*/ 0 w 570943"/>
              <a:gd name="connsiteY3" fmla="*/ 571934 h 57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943" h="571934">
                <a:moveTo>
                  <a:pt x="0" y="0"/>
                </a:moveTo>
                <a:lnTo>
                  <a:pt x="570943" y="0"/>
                </a:lnTo>
                <a:lnTo>
                  <a:pt x="570943" y="571934"/>
                </a:lnTo>
                <a:lnTo>
                  <a:pt x="0" y="57193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6" name="Freeform 145">
            <a:extLst>
              <a:ext uri="{FF2B5EF4-FFF2-40B4-BE49-F238E27FC236}">
                <a16:creationId xmlns:a16="http://schemas.microsoft.com/office/drawing/2014/main" id="{25715F42-A331-F04E-BC28-451E68835BA0}"/>
              </a:ext>
            </a:extLst>
          </p:cNvPr>
          <p:cNvSpPr/>
          <p:nvPr/>
        </p:nvSpPr>
        <p:spPr>
          <a:xfrm>
            <a:off x="1276030" y="982389"/>
            <a:ext cx="42859" cy="42933"/>
          </a:xfrm>
          <a:custGeom>
            <a:avLst/>
            <a:gdLst>
              <a:gd name="connsiteX0" fmla="*/ 0 w 570943"/>
              <a:gd name="connsiteY0" fmla="*/ 0 h 571934"/>
              <a:gd name="connsiteX1" fmla="*/ 570943 w 570943"/>
              <a:gd name="connsiteY1" fmla="*/ 0 h 571934"/>
              <a:gd name="connsiteX2" fmla="*/ 570943 w 570943"/>
              <a:gd name="connsiteY2" fmla="*/ 571934 h 571934"/>
              <a:gd name="connsiteX3" fmla="*/ 0 w 570943"/>
              <a:gd name="connsiteY3" fmla="*/ 571934 h 57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943" h="571934">
                <a:moveTo>
                  <a:pt x="0" y="0"/>
                </a:moveTo>
                <a:lnTo>
                  <a:pt x="570943" y="0"/>
                </a:lnTo>
                <a:lnTo>
                  <a:pt x="570943" y="571934"/>
                </a:lnTo>
                <a:lnTo>
                  <a:pt x="0" y="57193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7" name="Freeform 146">
            <a:extLst>
              <a:ext uri="{FF2B5EF4-FFF2-40B4-BE49-F238E27FC236}">
                <a16:creationId xmlns:a16="http://schemas.microsoft.com/office/drawing/2014/main" id="{A3C597B9-2901-284E-B738-7BA888DE8940}"/>
              </a:ext>
            </a:extLst>
          </p:cNvPr>
          <p:cNvSpPr/>
          <p:nvPr/>
        </p:nvSpPr>
        <p:spPr>
          <a:xfrm>
            <a:off x="1525482" y="903722"/>
            <a:ext cx="10265" cy="379198"/>
          </a:xfrm>
          <a:custGeom>
            <a:avLst/>
            <a:gdLst>
              <a:gd name="connsiteX0" fmla="*/ 0 w 136752"/>
              <a:gd name="connsiteY0" fmla="*/ 0 h 5051513"/>
              <a:gd name="connsiteX1" fmla="*/ 136753 w 136752"/>
              <a:gd name="connsiteY1" fmla="*/ 0 h 5051513"/>
              <a:gd name="connsiteX2" fmla="*/ 136753 w 136752"/>
              <a:gd name="connsiteY2" fmla="*/ 5051513 h 5051513"/>
              <a:gd name="connsiteX3" fmla="*/ 0 w 136752"/>
              <a:gd name="connsiteY3" fmla="*/ 5051513 h 5051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752" h="5051513">
                <a:moveTo>
                  <a:pt x="0" y="0"/>
                </a:moveTo>
                <a:lnTo>
                  <a:pt x="136753" y="0"/>
                </a:lnTo>
                <a:lnTo>
                  <a:pt x="136753" y="5051513"/>
                </a:lnTo>
                <a:lnTo>
                  <a:pt x="0" y="5051513"/>
                </a:lnTo>
                <a:close/>
              </a:path>
            </a:pathLst>
          </a:custGeom>
          <a:solidFill>
            <a:srgbClr val="6C8DBD">
              <a:alpha val="64000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48" name="Graphic 122">
            <a:extLst>
              <a:ext uri="{FF2B5EF4-FFF2-40B4-BE49-F238E27FC236}">
                <a16:creationId xmlns:a16="http://schemas.microsoft.com/office/drawing/2014/main" id="{BC8B2B37-B07F-9248-A69D-747BC3D594F6}"/>
              </a:ext>
            </a:extLst>
          </p:cNvPr>
          <p:cNvGrpSpPr/>
          <p:nvPr userDrawn="1"/>
        </p:nvGrpSpPr>
        <p:grpSpPr>
          <a:xfrm>
            <a:off x="1937643" y="982904"/>
            <a:ext cx="746559" cy="219549"/>
            <a:chOff x="12796915" y="3433612"/>
            <a:chExt cx="9945355" cy="2924740"/>
          </a:xfrm>
          <a:solidFill>
            <a:schemeClr val="bg1">
              <a:alpha val="64000"/>
            </a:schemeClr>
          </a:solidFill>
        </p:grpSpPr>
        <p:sp>
          <p:nvSpPr>
            <p:cNvPr id="149" name="Freeform 148">
              <a:extLst>
                <a:ext uri="{FF2B5EF4-FFF2-40B4-BE49-F238E27FC236}">
                  <a16:creationId xmlns:a16="http://schemas.microsoft.com/office/drawing/2014/main" id="{DEB586AE-D533-1348-B0D1-D8824F368E91}"/>
                </a:ext>
              </a:extLst>
            </p:cNvPr>
            <p:cNvSpPr/>
            <p:nvPr/>
          </p:nvSpPr>
          <p:spPr>
            <a:xfrm>
              <a:off x="12796915" y="3433612"/>
              <a:ext cx="1996587" cy="2924740"/>
            </a:xfrm>
            <a:custGeom>
              <a:avLst/>
              <a:gdLst>
                <a:gd name="connsiteX0" fmla="*/ 588037 w 1996592"/>
                <a:gd name="connsiteY0" fmla="*/ 2554867 h 2924740"/>
                <a:gd name="connsiteX1" fmla="*/ 1005134 w 1996592"/>
                <a:gd name="connsiteY1" fmla="*/ 2681583 h 2924740"/>
                <a:gd name="connsiteX2" fmla="*/ 1408554 w 1996592"/>
                <a:gd name="connsiteY2" fmla="*/ 2328833 h 2924740"/>
                <a:gd name="connsiteX3" fmla="*/ 858124 w 1996592"/>
                <a:gd name="connsiteY3" fmla="*/ 1732926 h 2924740"/>
                <a:gd name="connsiteX4" fmla="*/ 136753 w 1996592"/>
                <a:gd name="connsiteY4" fmla="*/ 821941 h 2924740"/>
                <a:gd name="connsiteX5" fmla="*/ 1107698 w 1996592"/>
                <a:gd name="connsiteY5" fmla="*/ 0 h 2924740"/>
                <a:gd name="connsiteX6" fmla="*/ 1907703 w 1996592"/>
                <a:gd name="connsiteY6" fmla="*/ 85619 h 2924740"/>
                <a:gd name="connsiteX7" fmla="*/ 1832488 w 1996592"/>
                <a:gd name="connsiteY7" fmla="*/ 784269 h 2924740"/>
                <a:gd name="connsiteX8" fmla="*/ 1623941 w 1996592"/>
                <a:gd name="connsiteY8" fmla="*/ 787694 h 2924740"/>
                <a:gd name="connsiteX9" fmla="*/ 1422229 w 1996592"/>
                <a:gd name="connsiteY9" fmla="*/ 318502 h 2924740"/>
                <a:gd name="connsiteX10" fmla="*/ 1073510 w 1996592"/>
                <a:gd name="connsiteY10" fmla="*/ 215760 h 2924740"/>
                <a:gd name="connsiteX11" fmla="*/ 683765 w 1996592"/>
                <a:gd name="connsiteY11" fmla="*/ 599332 h 2924740"/>
                <a:gd name="connsiteX12" fmla="*/ 981201 w 1996592"/>
                <a:gd name="connsiteY12" fmla="*/ 1030851 h 2924740"/>
                <a:gd name="connsiteX13" fmla="*/ 1531632 w 1996592"/>
                <a:gd name="connsiteY13" fmla="*/ 1339079 h 2924740"/>
                <a:gd name="connsiteX14" fmla="*/ 1996592 w 1996592"/>
                <a:gd name="connsiteY14" fmla="*/ 2048003 h 2924740"/>
                <a:gd name="connsiteX15" fmla="*/ 899150 w 1996592"/>
                <a:gd name="connsiteY15" fmla="*/ 2924741 h 2924740"/>
                <a:gd name="connsiteX16" fmla="*/ 167522 w 1996592"/>
                <a:gd name="connsiteY16" fmla="*/ 2770627 h 2924740"/>
                <a:gd name="connsiteX17" fmla="*/ 0 w 1996592"/>
                <a:gd name="connsiteY17" fmla="*/ 2010331 h 2924740"/>
                <a:gd name="connsiteX18" fmla="*/ 211966 w 1996592"/>
                <a:gd name="connsiteY18" fmla="*/ 1941836 h 2924740"/>
                <a:gd name="connsiteX19" fmla="*/ 588037 w 1996592"/>
                <a:gd name="connsiteY19" fmla="*/ 2554867 h 29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592" h="2924740">
                  <a:moveTo>
                    <a:pt x="588037" y="2554867"/>
                  </a:moveTo>
                  <a:cubicBezTo>
                    <a:pt x="704277" y="2640486"/>
                    <a:pt x="882056" y="2681583"/>
                    <a:pt x="1005134" y="2681583"/>
                  </a:cubicBezTo>
                  <a:cubicBezTo>
                    <a:pt x="1193169" y="2681583"/>
                    <a:pt x="1408554" y="2582265"/>
                    <a:pt x="1408554" y="2328833"/>
                  </a:cubicBezTo>
                  <a:cubicBezTo>
                    <a:pt x="1408554" y="2119923"/>
                    <a:pt x="1319665" y="2000057"/>
                    <a:pt x="858124" y="1732926"/>
                  </a:cubicBezTo>
                  <a:cubicBezTo>
                    <a:pt x="509404" y="1537715"/>
                    <a:pt x="136753" y="1328805"/>
                    <a:pt x="136753" y="821941"/>
                  </a:cubicBezTo>
                  <a:cubicBezTo>
                    <a:pt x="136753" y="287679"/>
                    <a:pt x="581200" y="0"/>
                    <a:pt x="1107698" y="0"/>
                  </a:cubicBezTo>
                  <a:cubicBezTo>
                    <a:pt x="1473512" y="0"/>
                    <a:pt x="1658129" y="65070"/>
                    <a:pt x="1907703" y="85619"/>
                  </a:cubicBezTo>
                  <a:cubicBezTo>
                    <a:pt x="1870095" y="253432"/>
                    <a:pt x="1846164" y="517138"/>
                    <a:pt x="1832488" y="784269"/>
                  </a:cubicBezTo>
                  <a:cubicBezTo>
                    <a:pt x="1805138" y="811667"/>
                    <a:pt x="1647872" y="811667"/>
                    <a:pt x="1623941" y="787694"/>
                  </a:cubicBezTo>
                  <a:cubicBezTo>
                    <a:pt x="1579495" y="523987"/>
                    <a:pt x="1514538" y="393847"/>
                    <a:pt x="1422229" y="318502"/>
                  </a:cubicBezTo>
                  <a:cubicBezTo>
                    <a:pt x="1333341" y="246582"/>
                    <a:pt x="1213682" y="215760"/>
                    <a:pt x="1073510" y="215760"/>
                  </a:cubicBezTo>
                  <a:cubicBezTo>
                    <a:pt x="830773" y="215760"/>
                    <a:pt x="683765" y="404121"/>
                    <a:pt x="683765" y="599332"/>
                  </a:cubicBezTo>
                  <a:cubicBezTo>
                    <a:pt x="683765" y="808242"/>
                    <a:pt x="786329" y="910985"/>
                    <a:pt x="981201" y="1030851"/>
                  </a:cubicBezTo>
                  <a:cubicBezTo>
                    <a:pt x="1179494" y="1143868"/>
                    <a:pt x="1336759" y="1226062"/>
                    <a:pt x="1531632" y="1339079"/>
                  </a:cubicBezTo>
                  <a:cubicBezTo>
                    <a:pt x="1842745" y="1520591"/>
                    <a:pt x="1996592" y="1708953"/>
                    <a:pt x="1996592" y="2048003"/>
                  </a:cubicBezTo>
                  <a:cubicBezTo>
                    <a:pt x="1996592" y="2510345"/>
                    <a:pt x="1617103" y="2924741"/>
                    <a:pt x="899150" y="2924741"/>
                  </a:cubicBezTo>
                  <a:cubicBezTo>
                    <a:pt x="574362" y="2924741"/>
                    <a:pt x="297437" y="2835697"/>
                    <a:pt x="167522" y="2770627"/>
                  </a:cubicBezTo>
                  <a:cubicBezTo>
                    <a:pt x="116240" y="2705556"/>
                    <a:pt x="3418" y="2181569"/>
                    <a:pt x="0" y="2010331"/>
                  </a:cubicBezTo>
                  <a:cubicBezTo>
                    <a:pt x="17094" y="1972659"/>
                    <a:pt x="177778" y="1928137"/>
                    <a:pt x="211966" y="1941836"/>
                  </a:cubicBezTo>
                  <a:cubicBezTo>
                    <a:pt x="307694" y="2226091"/>
                    <a:pt x="427353" y="2428151"/>
                    <a:pt x="588037" y="255486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A931BF6F-2A9D-814C-9FC5-E069B4833FA6}"/>
                </a:ext>
              </a:extLst>
            </p:cNvPr>
            <p:cNvSpPr/>
            <p:nvPr/>
          </p:nvSpPr>
          <p:spPr>
            <a:xfrm>
              <a:off x="16378705" y="3498688"/>
              <a:ext cx="2640473" cy="2808296"/>
            </a:xfrm>
            <a:custGeom>
              <a:avLst/>
              <a:gdLst>
                <a:gd name="connsiteX0" fmla="*/ 83187 w 2640466"/>
                <a:gd name="connsiteY0" fmla="*/ 0 h 2808298"/>
                <a:gd name="connsiteX1" fmla="*/ 725926 w 2640466"/>
                <a:gd name="connsiteY1" fmla="*/ 13699 h 2808298"/>
                <a:gd name="connsiteX2" fmla="*/ 1536186 w 2640466"/>
                <a:gd name="connsiteY2" fmla="*/ 3425 h 2808298"/>
                <a:gd name="connsiteX3" fmla="*/ 2438755 w 2640466"/>
                <a:gd name="connsiteY3" fmla="*/ 626730 h 2808298"/>
                <a:gd name="connsiteX4" fmla="*/ 1990890 w 2640466"/>
                <a:gd name="connsiteY4" fmla="*/ 1188390 h 2808298"/>
                <a:gd name="connsiteX5" fmla="*/ 1990890 w 2640466"/>
                <a:gd name="connsiteY5" fmla="*/ 1215788 h 2808298"/>
                <a:gd name="connsiteX6" fmla="*/ 2640467 w 2640466"/>
                <a:gd name="connsiteY6" fmla="*/ 1890465 h 2808298"/>
                <a:gd name="connsiteX7" fmla="*/ 2059267 w 2640466"/>
                <a:gd name="connsiteY7" fmla="*/ 2678158 h 2808298"/>
                <a:gd name="connsiteX8" fmla="*/ 1272937 w 2640466"/>
                <a:gd name="connsiteY8" fmla="*/ 2808299 h 2808298"/>
                <a:gd name="connsiteX9" fmla="*/ 25067 w 2640466"/>
                <a:gd name="connsiteY9" fmla="*/ 2784326 h 2808298"/>
                <a:gd name="connsiteX10" fmla="*/ 21648 w 2640466"/>
                <a:gd name="connsiteY10" fmla="*/ 2582265 h 2808298"/>
                <a:gd name="connsiteX11" fmla="*/ 346436 w 2640466"/>
                <a:gd name="connsiteY11" fmla="*/ 2524044 h 2808298"/>
                <a:gd name="connsiteX12" fmla="*/ 469514 w 2640466"/>
                <a:gd name="connsiteY12" fmla="*/ 2308285 h 2808298"/>
                <a:gd name="connsiteX13" fmla="*/ 479770 w 2640466"/>
                <a:gd name="connsiteY13" fmla="*/ 1366477 h 2808298"/>
                <a:gd name="connsiteX14" fmla="*/ 469514 w 2640466"/>
                <a:gd name="connsiteY14" fmla="*/ 448643 h 2808298"/>
                <a:gd name="connsiteX15" fmla="*/ 343017 w 2640466"/>
                <a:gd name="connsiteY15" fmla="*/ 253432 h 2808298"/>
                <a:gd name="connsiteX16" fmla="*/ 79767 w 2640466"/>
                <a:gd name="connsiteY16" fmla="*/ 208910 h 2808298"/>
                <a:gd name="connsiteX17" fmla="*/ 83187 w 2640466"/>
                <a:gd name="connsiteY17" fmla="*/ 0 h 2808298"/>
                <a:gd name="connsiteX18" fmla="*/ 1990890 w 2640466"/>
                <a:gd name="connsiteY18" fmla="*/ 2003481 h 2808298"/>
                <a:gd name="connsiteX19" fmla="*/ 1269518 w 2640466"/>
                <a:gd name="connsiteY19" fmla="*/ 1407574 h 2808298"/>
                <a:gd name="connsiteX20" fmla="*/ 1101996 w 2640466"/>
                <a:gd name="connsiteY20" fmla="*/ 1410999 h 2808298"/>
                <a:gd name="connsiteX21" fmla="*/ 1078064 w 2640466"/>
                <a:gd name="connsiteY21" fmla="*/ 1438397 h 2808298"/>
                <a:gd name="connsiteX22" fmla="*/ 1088320 w 2640466"/>
                <a:gd name="connsiteY22" fmla="*/ 2325409 h 2808298"/>
                <a:gd name="connsiteX23" fmla="*/ 1184048 w 2640466"/>
                <a:gd name="connsiteY23" fmla="*/ 2496646 h 2808298"/>
                <a:gd name="connsiteX24" fmla="*/ 1491742 w 2640466"/>
                <a:gd name="connsiteY24" fmla="*/ 2578840 h 2808298"/>
                <a:gd name="connsiteX25" fmla="*/ 1990890 w 2640466"/>
                <a:gd name="connsiteY25" fmla="*/ 2003481 h 2808298"/>
                <a:gd name="connsiteX26" fmla="*/ 1122508 w 2640466"/>
                <a:gd name="connsiteY26" fmla="*/ 250007 h 2808298"/>
                <a:gd name="connsiteX27" fmla="*/ 1084902 w 2640466"/>
                <a:gd name="connsiteY27" fmla="*/ 315077 h 2808298"/>
                <a:gd name="connsiteX28" fmla="*/ 1074645 w 2640466"/>
                <a:gd name="connsiteY28" fmla="*/ 1137019 h 2808298"/>
                <a:gd name="connsiteX29" fmla="*/ 1101996 w 2640466"/>
                <a:gd name="connsiteY29" fmla="*/ 1164417 h 2808298"/>
                <a:gd name="connsiteX30" fmla="*/ 1331057 w 2640466"/>
                <a:gd name="connsiteY30" fmla="*/ 1167842 h 2808298"/>
                <a:gd name="connsiteX31" fmla="*/ 1679777 w 2640466"/>
                <a:gd name="connsiteY31" fmla="*/ 1126744 h 2808298"/>
                <a:gd name="connsiteX32" fmla="*/ 1850718 w 2640466"/>
                <a:gd name="connsiteY32" fmla="*/ 763720 h 2808298"/>
                <a:gd name="connsiteX33" fmla="*/ 1249005 w 2640466"/>
                <a:gd name="connsiteY33" fmla="*/ 232883 h 2808298"/>
                <a:gd name="connsiteX34" fmla="*/ 1122508 w 2640466"/>
                <a:gd name="connsiteY34" fmla="*/ 250007 h 280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640466" h="2808298">
                  <a:moveTo>
                    <a:pt x="83187" y="0"/>
                  </a:moveTo>
                  <a:cubicBezTo>
                    <a:pt x="144726" y="0"/>
                    <a:pt x="339598" y="13699"/>
                    <a:pt x="725926" y="13699"/>
                  </a:cubicBezTo>
                  <a:cubicBezTo>
                    <a:pt x="1067808" y="13699"/>
                    <a:pt x="1361826" y="3425"/>
                    <a:pt x="1536186" y="3425"/>
                  </a:cubicBezTo>
                  <a:cubicBezTo>
                    <a:pt x="2001146" y="3425"/>
                    <a:pt x="2438755" y="116442"/>
                    <a:pt x="2438755" y="626730"/>
                  </a:cubicBezTo>
                  <a:cubicBezTo>
                    <a:pt x="2438755" y="883587"/>
                    <a:pt x="2250720" y="1095921"/>
                    <a:pt x="1990890" y="1188390"/>
                  </a:cubicBezTo>
                  <a:cubicBezTo>
                    <a:pt x="1980633" y="1191815"/>
                    <a:pt x="1980633" y="1212363"/>
                    <a:pt x="1990890" y="1215788"/>
                  </a:cubicBezTo>
                  <a:cubicBezTo>
                    <a:pt x="2343029" y="1311681"/>
                    <a:pt x="2640467" y="1493193"/>
                    <a:pt x="2640467" y="1890465"/>
                  </a:cubicBezTo>
                  <a:cubicBezTo>
                    <a:pt x="2640467" y="2260338"/>
                    <a:pt x="2431918" y="2513770"/>
                    <a:pt x="2059267" y="2678158"/>
                  </a:cubicBezTo>
                  <a:cubicBezTo>
                    <a:pt x="1850718" y="2767202"/>
                    <a:pt x="1543024" y="2808299"/>
                    <a:pt x="1272937" y="2808299"/>
                  </a:cubicBezTo>
                  <a:cubicBezTo>
                    <a:pt x="1071226" y="2808299"/>
                    <a:pt x="332761" y="2784326"/>
                    <a:pt x="25067" y="2784326"/>
                  </a:cubicBezTo>
                  <a:cubicBezTo>
                    <a:pt x="-2284" y="2756928"/>
                    <a:pt x="-12540" y="2602814"/>
                    <a:pt x="21648" y="2582265"/>
                  </a:cubicBezTo>
                  <a:cubicBezTo>
                    <a:pt x="151563" y="2565141"/>
                    <a:pt x="271222" y="2551442"/>
                    <a:pt x="346436" y="2524044"/>
                  </a:cubicBezTo>
                  <a:cubicBezTo>
                    <a:pt x="428488" y="2496646"/>
                    <a:pt x="455838" y="2448700"/>
                    <a:pt x="469514" y="2308285"/>
                  </a:cubicBezTo>
                  <a:cubicBezTo>
                    <a:pt x="479770" y="2184994"/>
                    <a:pt x="479770" y="1702103"/>
                    <a:pt x="479770" y="1366477"/>
                  </a:cubicBezTo>
                  <a:cubicBezTo>
                    <a:pt x="479770" y="887011"/>
                    <a:pt x="479770" y="674677"/>
                    <a:pt x="469514" y="448643"/>
                  </a:cubicBezTo>
                  <a:cubicBezTo>
                    <a:pt x="466095" y="335626"/>
                    <a:pt x="438744" y="280830"/>
                    <a:pt x="343017" y="253432"/>
                  </a:cubicBezTo>
                  <a:cubicBezTo>
                    <a:pt x="260966" y="229459"/>
                    <a:pt x="148144" y="212335"/>
                    <a:pt x="79767" y="208910"/>
                  </a:cubicBezTo>
                  <a:cubicBezTo>
                    <a:pt x="55836" y="178087"/>
                    <a:pt x="59255" y="20548"/>
                    <a:pt x="83187" y="0"/>
                  </a:cubicBezTo>
                  <a:close/>
                  <a:moveTo>
                    <a:pt x="1990890" y="2003481"/>
                  </a:moveTo>
                  <a:cubicBezTo>
                    <a:pt x="1990890" y="1623334"/>
                    <a:pt x="1741316" y="1407574"/>
                    <a:pt x="1269518" y="1407574"/>
                  </a:cubicBezTo>
                  <a:cubicBezTo>
                    <a:pt x="1255843" y="1407574"/>
                    <a:pt x="1146441" y="1407574"/>
                    <a:pt x="1101996" y="1410999"/>
                  </a:cubicBezTo>
                  <a:cubicBezTo>
                    <a:pt x="1091739" y="1410999"/>
                    <a:pt x="1078064" y="1421273"/>
                    <a:pt x="1078064" y="1438397"/>
                  </a:cubicBezTo>
                  <a:cubicBezTo>
                    <a:pt x="1078064" y="1753475"/>
                    <a:pt x="1074645" y="2147321"/>
                    <a:pt x="1088320" y="2325409"/>
                  </a:cubicBezTo>
                  <a:cubicBezTo>
                    <a:pt x="1091739" y="2390479"/>
                    <a:pt x="1139603" y="2465823"/>
                    <a:pt x="1184048" y="2496646"/>
                  </a:cubicBezTo>
                  <a:cubicBezTo>
                    <a:pt x="1255843" y="2561717"/>
                    <a:pt x="1413108" y="2578840"/>
                    <a:pt x="1491742" y="2578840"/>
                  </a:cubicBezTo>
                  <a:cubicBezTo>
                    <a:pt x="1768667" y="2575416"/>
                    <a:pt x="1990890" y="2390479"/>
                    <a:pt x="1990890" y="2003481"/>
                  </a:cubicBezTo>
                  <a:close/>
                  <a:moveTo>
                    <a:pt x="1122508" y="250007"/>
                  </a:moveTo>
                  <a:cubicBezTo>
                    <a:pt x="1108833" y="253432"/>
                    <a:pt x="1091739" y="291104"/>
                    <a:pt x="1084902" y="315077"/>
                  </a:cubicBezTo>
                  <a:cubicBezTo>
                    <a:pt x="1074645" y="397272"/>
                    <a:pt x="1074645" y="863038"/>
                    <a:pt x="1074645" y="1137019"/>
                  </a:cubicBezTo>
                  <a:cubicBezTo>
                    <a:pt x="1074645" y="1150718"/>
                    <a:pt x="1091739" y="1164417"/>
                    <a:pt x="1101996" y="1164417"/>
                  </a:cubicBezTo>
                  <a:cubicBezTo>
                    <a:pt x="1146441" y="1167842"/>
                    <a:pt x="1225073" y="1167842"/>
                    <a:pt x="1331057" y="1167842"/>
                  </a:cubicBezTo>
                  <a:cubicBezTo>
                    <a:pt x="1501998" y="1167842"/>
                    <a:pt x="1628495" y="1154142"/>
                    <a:pt x="1679777" y="1126744"/>
                  </a:cubicBezTo>
                  <a:cubicBezTo>
                    <a:pt x="1789179" y="1061674"/>
                    <a:pt x="1850718" y="928109"/>
                    <a:pt x="1850718" y="763720"/>
                  </a:cubicBezTo>
                  <a:cubicBezTo>
                    <a:pt x="1850718" y="434944"/>
                    <a:pt x="1652426" y="232883"/>
                    <a:pt x="1249005" y="232883"/>
                  </a:cubicBezTo>
                  <a:cubicBezTo>
                    <a:pt x="1225073" y="236308"/>
                    <a:pt x="1173791" y="239733"/>
                    <a:pt x="1122508" y="25000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853D6E94-E89E-5B46-9637-094BCCB61113}"/>
                </a:ext>
              </a:extLst>
            </p:cNvPr>
            <p:cNvSpPr/>
            <p:nvPr/>
          </p:nvSpPr>
          <p:spPr>
            <a:xfrm>
              <a:off x="20745683" y="3433612"/>
              <a:ext cx="1996587" cy="2924740"/>
            </a:xfrm>
            <a:custGeom>
              <a:avLst/>
              <a:gdLst>
                <a:gd name="connsiteX0" fmla="*/ 588038 w 1996591"/>
                <a:gd name="connsiteY0" fmla="*/ 2554867 h 2924740"/>
                <a:gd name="connsiteX1" fmla="*/ 1005133 w 1996591"/>
                <a:gd name="connsiteY1" fmla="*/ 2681583 h 2924740"/>
                <a:gd name="connsiteX2" fmla="*/ 1408555 w 1996591"/>
                <a:gd name="connsiteY2" fmla="*/ 2328833 h 2924740"/>
                <a:gd name="connsiteX3" fmla="*/ 858124 w 1996591"/>
                <a:gd name="connsiteY3" fmla="*/ 1732926 h 2924740"/>
                <a:gd name="connsiteX4" fmla="*/ 136753 w 1996591"/>
                <a:gd name="connsiteY4" fmla="*/ 821941 h 2924740"/>
                <a:gd name="connsiteX5" fmla="*/ 1107697 w 1996591"/>
                <a:gd name="connsiteY5" fmla="*/ 0 h 2924740"/>
                <a:gd name="connsiteX6" fmla="*/ 1907703 w 1996591"/>
                <a:gd name="connsiteY6" fmla="*/ 85619 h 2924740"/>
                <a:gd name="connsiteX7" fmla="*/ 1832488 w 1996591"/>
                <a:gd name="connsiteY7" fmla="*/ 784269 h 2924740"/>
                <a:gd name="connsiteX8" fmla="*/ 1623941 w 1996591"/>
                <a:gd name="connsiteY8" fmla="*/ 787694 h 2924740"/>
                <a:gd name="connsiteX9" fmla="*/ 1422229 w 1996591"/>
                <a:gd name="connsiteY9" fmla="*/ 318502 h 2924740"/>
                <a:gd name="connsiteX10" fmla="*/ 1073509 w 1996591"/>
                <a:gd name="connsiteY10" fmla="*/ 215760 h 2924740"/>
                <a:gd name="connsiteX11" fmla="*/ 683765 w 1996591"/>
                <a:gd name="connsiteY11" fmla="*/ 599332 h 2924740"/>
                <a:gd name="connsiteX12" fmla="*/ 981203 w 1996591"/>
                <a:gd name="connsiteY12" fmla="*/ 1030851 h 2924740"/>
                <a:gd name="connsiteX13" fmla="*/ 1531632 w 1996591"/>
                <a:gd name="connsiteY13" fmla="*/ 1339079 h 2924740"/>
                <a:gd name="connsiteX14" fmla="*/ 1996591 w 1996591"/>
                <a:gd name="connsiteY14" fmla="*/ 2048003 h 2924740"/>
                <a:gd name="connsiteX15" fmla="*/ 899150 w 1996591"/>
                <a:gd name="connsiteY15" fmla="*/ 2924741 h 2924740"/>
                <a:gd name="connsiteX16" fmla="*/ 167521 w 1996591"/>
                <a:gd name="connsiteY16" fmla="*/ 2770627 h 2924740"/>
                <a:gd name="connsiteX17" fmla="*/ 0 w 1996591"/>
                <a:gd name="connsiteY17" fmla="*/ 2010331 h 2924740"/>
                <a:gd name="connsiteX18" fmla="*/ 211967 w 1996591"/>
                <a:gd name="connsiteY18" fmla="*/ 1941836 h 2924740"/>
                <a:gd name="connsiteX19" fmla="*/ 588038 w 1996591"/>
                <a:gd name="connsiteY19" fmla="*/ 2554867 h 29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591" h="2924740">
                  <a:moveTo>
                    <a:pt x="588038" y="2554867"/>
                  </a:moveTo>
                  <a:cubicBezTo>
                    <a:pt x="704277" y="2640486"/>
                    <a:pt x="882056" y="2681583"/>
                    <a:pt x="1005133" y="2681583"/>
                  </a:cubicBezTo>
                  <a:cubicBezTo>
                    <a:pt x="1196588" y="2681583"/>
                    <a:pt x="1408555" y="2582265"/>
                    <a:pt x="1408555" y="2328833"/>
                  </a:cubicBezTo>
                  <a:cubicBezTo>
                    <a:pt x="1408555" y="2119923"/>
                    <a:pt x="1319665" y="2000057"/>
                    <a:pt x="858124" y="1732926"/>
                  </a:cubicBezTo>
                  <a:cubicBezTo>
                    <a:pt x="509403" y="1537715"/>
                    <a:pt x="136753" y="1328805"/>
                    <a:pt x="136753" y="821941"/>
                  </a:cubicBezTo>
                  <a:cubicBezTo>
                    <a:pt x="136753" y="287679"/>
                    <a:pt x="581200" y="0"/>
                    <a:pt x="1107697" y="0"/>
                  </a:cubicBezTo>
                  <a:cubicBezTo>
                    <a:pt x="1473512" y="0"/>
                    <a:pt x="1658129" y="65070"/>
                    <a:pt x="1907703" y="85619"/>
                  </a:cubicBezTo>
                  <a:cubicBezTo>
                    <a:pt x="1870096" y="253432"/>
                    <a:pt x="1842744" y="517138"/>
                    <a:pt x="1832488" y="784269"/>
                  </a:cubicBezTo>
                  <a:cubicBezTo>
                    <a:pt x="1805138" y="811667"/>
                    <a:pt x="1647873" y="811667"/>
                    <a:pt x="1623941" y="787694"/>
                  </a:cubicBezTo>
                  <a:cubicBezTo>
                    <a:pt x="1579496" y="523987"/>
                    <a:pt x="1514538" y="393847"/>
                    <a:pt x="1422229" y="318502"/>
                  </a:cubicBezTo>
                  <a:cubicBezTo>
                    <a:pt x="1333341" y="246582"/>
                    <a:pt x="1213682" y="215760"/>
                    <a:pt x="1073509" y="215760"/>
                  </a:cubicBezTo>
                  <a:cubicBezTo>
                    <a:pt x="830773" y="215760"/>
                    <a:pt x="683765" y="404121"/>
                    <a:pt x="683765" y="599332"/>
                  </a:cubicBezTo>
                  <a:cubicBezTo>
                    <a:pt x="683765" y="808242"/>
                    <a:pt x="786329" y="910985"/>
                    <a:pt x="981203" y="1030851"/>
                  </a:cubicBezTo>
                  <a:cubicBezTo>
                    <a:pt x="1179494" y="1143868"/>
                    <a:pt x="1336759" y="1226062"/>
                    <a:pt x="1531632" y="1339079"/>
                  </a:cubicBezTo>
                  <a:cubicBezTo>
                    <a:pt x="1842744" y="1520591"/>
                    <a:pt x="1996591" y="1708953"/>
                    <a:pt x="1996591" y="2048003"/>
                  </a:cubicBezTo>
                  <a:cubicBezTo>
                    <a:pt x="1996591" y="2510345"/>
                    <a:pt x="1617103" y="2924741"/>
                    <a:pt x="899150" y="2924741"/>
                  </a:cubicBezTo>
                  <a:cubicBezTo>
                    <a:pt x="574362" y="2924741"/>
                    <a:pt x="297438" y="2835697"/>
                    <a:pt x="167521" y="2770627"/>
                  </a:cubicBezTo>
                  <a:cubicBezTo>
                    <a:pt x="116239" y="2705556"/>
                    <a:pt x="3418" y="2181569"/>
                    <a:pt x="0" y="2010331"/>
                  </a:cubicBezTo>
                  <a:cubicBezTo>
                    <a:pt x="17094" y="1972659"/>
                    <a:pt x="177779" y="1928137"/>
                    <a:pt x="211967" y="1941836"/>
                  </a:cubicBezTo>
                  <a:cubicBezTo>
                    <a:pt x="307694" y="2226091"/>
                    <a:pt x="423933" y="2428151"/>
                    <a:pt x="588038" y="255486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7A589429-A1AF-004B-B2D6-830BA0D37AD6}"/>
              </a:ext>
            </a:extLst>
          </p:cNvPr>
          <p:cNvGrpSpPr/>
          <p:nvPr userDrawn="1"/>
        </p:nvGrpSpPr>
        <p:grpSpPr>
          <a:xfrm>
            <a:off x="8312338" y="3046281"/>
            <a:ext cx="3879660" cy="3811720"/>
            <a:chOff x="8312338" y="3046281"/>
            <a:chExt cx="3879660" cy="3811720"/>
          </a:xfrm>
        </p:grpSpPr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FAB0CFB5-7B28-A547-9873-724E922701E8}"/>
                </a:ext>
              </a:extLst>
            </p:cNvPr>
            <p:cNvSpPr/>
            <p:nvPr/>
          </p:nvSpPr>
          <p:spPr>
            <a:xfrm>
              <a:off x="9494872" y="4224080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317F27F7-E63D-6148-849A-E6ED639EE234}"/>
                </a:ext>
              </a:extLst>
            </p:cNvPr>
            <p:cNvSpPr/>
            <p:nvPr/>
          </p:nvSpPr>
          <p:spPr>
            <a:xfrm>
              <a:off x="10877320" y="5541041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68A4B448-E5A4-A849-9533-BBF2A5A95779}"/>
                </a:ext>
              </a:extLst>
            </p:cNvPr>
            <p:cNvSpPr/>
            <p:nvPr/>
          </p:nvSpPr>
          <p:spPr>
            <a:xfrm>
              <a:off x="11141610" y="3046281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7 h 450206"/>
                <a:gd name="connsiteX3" fmla="*/ 0 w 449426"/>
                <a:gd name="connsiteY3" fmla="*/ 450207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7"/>
                  </a:lnTo>
                  <a:lnTo>
                    <a:pt x="0" y="450207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765B724E-7DCC-D34B-81BE-12512A31D817}"/>
                </a:ext>
              </a:extLst>
            </p:cNvPr>
            <p:cNvSpPr/>
            <p:nvPr/>
          </p:nvSpPr>
          <p:spPr>
            <a:xfrm>
              <a:off x="8312338" y="5887253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6 h 450206"/>
                <a:gd name="connsiteX3" fmla="*/ 0 w 449426"/>
                <a:gd name="connsiteY3" fmla="*/ 450206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6"/>
                  </a:lnTo>
                  <a:lnTo>
                    <a:pt x="0" y="4502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9DB80A66-A424-7C4E-84A9-8E4A6DEC2F3D}"/>
                </a:ext>
              </a:extLst>
            </p:cNvPr>
            <p:cNvSpPr/>
            <p:nvPr/>
          </p:nvSpPr>
          <p:spPr>
            <a:xfrm>
              <a:off x="8312338" y="3080224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E2E51638-BBA2-FB4C-856C-5FC3147D06BE}"/>
                </a:ext>
              </a:extLst>
            </p:cNvPr>
            <p:cNvSpPr/>
            <p:nvPr/>
          </p:nvSpPr>
          <p:spPr>
            <a:xfrm>
              <a:off x="10175930" y="3182050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17F39F30-9AF6-1449-93B0-EC8BA6A71583}"/>
                </a:ext>
              </a:extLst>
            </p:cNvPr>
            <p:cNvSpPr/>
            <p:nvPr/>
          </p:nvSpPr>
          <p:spPr>
            <a:xfrm>
              <a:off x="11039959" y="4526166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4ECF33D-C9D3-2340-B48B-4538B6D4AD5B}"/>
                </a:ext>
              </a:extLst>
            </p:cNvPr>
            <p:cNvSpPr/>
            <p:nvPr/>
          </p:nvSpPr>
          <p:spPr>
            <a:xfrm>
              <a:off x="9555861" y="5758273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FA971CDB-E6EC-7048-B5DF-732D1B23F661}"/>
                </a:ext>
              </a:extLst>
            </p:cNvPr>
            <p:cNvSpPr/>
            <p:nvPr/>
          </p:nvSpPr>
          <p:spPr>
            <a:xfrm>
              <a:off x="8613900" y="4597446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804EC4F9-B287-4A42-A848-BDA400528D20}"/>
                </a:ext>
              </a:extLst>
            </p:cNvPr>
            <p:cNvSpPr/>
            <p:nvPr/>
          </p:nvSpPr>
          <p:spPr>
            <a:xfrm>
              <a:off x="9274630" y="3507897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203157" y="1813674"/>
            <a:ext cx="10437979" cy="1846659"/>
          </a:xfrm>
        </p:spPr>
        <p:txBody>
          <a:bodyPr vert="horz" anchor="t" anchorCtr="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ru-RU"/>
              <a:t>Название</a:t>
            </a:r>
            <a:br>
              <a:rPr lang="en-US"/>
            </a:br>
            <a:r>
              <a:rPr lang="ru-RU"/>
              <a:t>в две строки</a:t>
            </a:r>
            <a:endParaRPr lang="en-RU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73F2CC7-906E-0A43-8BC5-CAEFB87F11CB}"/>
              </a:ext>
            </a:extLst>
          </p:cNvPr>
          <p:cNvCxnSpPr/>
          <p:nvPr userDrawn="1"/>
        </p:nvCxnSpPr>
        <p:spPr>
          <a:xfrm>
            <a:off x="1203157" y="1490941"/>
            <a:ext cx="1491916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2F7B8B5-F108-864E-9E02-84965A67A78E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203156" y="5430462"/>
            <a:ext cx="10437979" cy="307777"/>
          </a:xfrm>
        </p:spPr>
        <p:txBody>
          <a:bodyPr anchor="b" anchorCtr="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Подзаголовок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F003958-C4F0-AA4F-B513-5811C1FBCBE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203145" y="5909682"/>
            <a:ext cx="2448000" cy="246221"/>
          </a:xfrm>
          <a:noFill/>
        </p:spPr>
        <p:txBody>
          <a:bodyPr wrap="none" anchor="b" anchorCtr="0">
            <a:noAutofit/>
          </a:bodyPr>
          <a:lstStyle>
            <a:lvl1pPr>
              <a:defRPr sz="1800">
                <a:solidFill>
                  <a:srgbClr val="6C8DBD"/>
                </a:solidFill>
              </a:defRPr>
            </a:lvl1pPr>
          </a:lstStyle>
          <a:p>
            <a:pPr lvl="0"/>
            <a:r>
              <a:rPr lang="ru-RU"/>
              <a:t>Дата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53635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118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E720B4A-FFE4-B741-BACA-7DEFF080782F}"/>
              </a:ext>
            </a:extLst>
          </p:cNvPr>
          <p:cNvSpPr/>
          <p:nvPr userDrawn="1"/>
        </p:nvSpPr>
        <p:spPr>
          <a:xfrm>
            <a:off x="0" y="1215189"/>
            <a:ext cx="3862137" cy="564281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9E67AC2-2EAD-B34F-B2A4-8E4B4C4A6A83}"/>
              </a:ext>
            </a:extLst>
          </p:cNvPr>
          <p:cNvCxnSpPr>
            <a:cxnSpLocks/>
          </p:cNvCxnSpPr>
          <p:nvPr userDrawn="1"/>
        </p:nvCxnSpPr>
        <p:spPr>
          <a:xfrm>
            <a:off x="566939" y="3780809"/>
            <a:ext cx="792629" cy="0"/>
          </a:xfrm>
          <a:prstGeom prst="line">
            <a:avLst/>
          </a:prstGeom>
          <a:ln w="38100" cmpd="sng">
            <a:solidFill>
              <a:schemeClr val="bg1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33" y="2582949"/>
            <a:ext cx="3078629" cy="738664"/>
          </a:xfrm>
        </p:spPr>
        <p:txBody>
          <a:bodyPr vert="horz"/>
          <a:lstStyle>
            <a:lvl1pPr>
              <a:defRPr sz="2400"/>
            </a:lvl1pPr>
          </a:lstStyle>
          <a:p>
            <a:r>
              <a:rPr lang="ru-RU"/>
              <a:t>Имя</a:t>
            </a:r>
            <a:br>
              <a:rPr lang="ru-RU"/>
            </a:br>
            <a:r>
              <a:rPr lang="ru-RU"/>
              <a:t>Фамилия</a:t>
            </a:r>
            <a:endParaRPr lang="en-RU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37EEDB8-49D1-D244-928D-D95B3B5AB18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6939" y="0"/>
            <a:ext cx="2549240" cy="254945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A7FE9F-1BEE-CC4D-AD27-C477FA21FD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333" y="3321612"/>
            <a:ext cx="30559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ru-RU"/>
              <a:t>Должность</a:t>
            </a: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1763EB7E-C3F6-7C46-ABF7-DD7FE5AE82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6060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gradFill>
          <a:gsLst>
            <a:gs pos="10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75329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3157" y="3694067"/>
            <a:ext cx="10437979" cy="738664"/>
          </a:xfrm>
        </p:spPr>
        <p:txBody>
          <a:bodyPr vert="horz" anchor="b" anchorCtr="0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  <a:endParaRPr lang="en-RU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73F2CC7-906E-0A43-8BC5-CAEFB87F11CB}"/>
              </a:ext>
            </a:extLst>
          </p:cNvPr>
          <p:cNvCxnSpPr/>
          <p:nvPr userDrawn="1"/>
        </p:nvCxnSpPr>
        <p:spPr>
          <a:xfrm>
            <a:off x="1203157" y="4728411"/>
            <a:ext cx="1491916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039A95A-0241-834F-99E5-43B101E36DDD}"/>
              </a:ext>
            </a:extLst>
          </p:cNvPr>
          <p:cNvGrpSpPr/>
          <p:nvPr userDrawn="1"/>
        </p:nvGrpSpPr>
        <p:grpSpPr>
          <a:xfrm>
            <a:off x="8312338" y="3046281"/>
            <a:ext cx="3879660" cy="3811720"/>
            <a:chOff x="8312338" y="3046281"/>
            <a:chExt cx="3879660" cy="3811720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FBB1D06B-DE12-1040-AA63-264EB7B5A67A}"/>
                </a:ext>
              </a:extLst>
            </p:cNvPr>
            <p:cNvSpPr/>
            <p:nvPr/>
          </p:nvSpPr>
          <p:spPr>
            <a:xfrm>
              <a:off x="9494872" y="4224080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062C84BC-0543-554D-862F-33CAB0F014BF}"/>
                </a:ext>
              </a:extLst>
            </p:cNvPr>
            <p:cNvSpPr/>
            <p:nvPr/>
          </p:nvSpPr>
          <p:spPr>
            <a:xfrm>
              <a:off x="10877320" y="5541041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619FD709-138E-C943-87BE-E2A14FC5E990}"/>
                </a:ext>
              </a:extLst>
            </p:cNvPr>
            <p:cNvSpPr/>
            <p:nvPr/>
          </p:nvSpPr>
          <p:spPr>
            <a:xfrm>
              <a:off x="11141610" y="3046281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7 h 450206"/>
                <a:gd name="connsiteX3" fmla="*/ 0 w 449426"/>
                <a:gd name="connsiteY3" fmla="*/ 450207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7"/>
                  </a:lnTo>
                  <a:lnTo>
                    <a:pt x="0" y="450207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70859DDC-6596-4843-9603-982CD2DDD0CC}"/>
                </a:ext>
              </a:extLst>
            </p:cNvPr>
            <p:cNvSpPr/>
            <p:nvPr/>
          </p:nvSpPr>
          <p:spPr>
            <a:xfrm>
              <a:off x="8312338" y="5887253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6 h 450206"/>
                <a:gd name="connsiteX3" fmla="*/ 0 w 449426"/>
                <a:gd name="connsiteY3" fmla="*/ 450206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6"/>
                  </a:lnTo>
                  <a:lnTo>
                    <a:pt x="0" y="4502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BEB74981-D994-E449-8EFE-FDD59D63F8E5}"/>
                </a:ext>
              </a:extLst>
            </p:cNvPr>
            <p:cNvSpPr/>
            <p:nvPr/>
          </p:nvSpPr>
          <p:spPr>
            <a:xfrm>
              <a:off x="8312338" y="3080224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4EB3CD7-499A-4A4A-8338-3C16D89DB93E}"/>
                </a:ext>
              </a:extLst>
            </p:cNvPr>
            <p:cNvSpPr/>
            <p:nvPr/>
          </p:nvSpPr>
          <p:spPr>
            <a:xfrm>
              <a:off x="10175930" y="3182050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713EFE07-EE67-B341-B594-AA5B8B330EED}"/>
                </a:ext>
              </a:extLst>
            </p:cNvPr>
            <p:cNvSpPr/>
            <p:nvPr/>
          </p:nvSpPr>
          <p:spPr>
            <a:xfrm>
              <a:off x="11039959" y="4526166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3F625451-0534-4F4E-99B0-C1836CEE3855}"/>
                </a:ext>
              </a:extLst>
            </p:cNvPr>
            <p:cNvSpPr/>
            <p:nvPr/>
          </p:nvSpPr>
          <p:spPr>
            <a:xfrm>
              <a:off x="9555861" y="5758273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E375CC17-1B77-694D-8E5A-97028735B056}"/>
                </a:ext>
              </a:extLst>
            </p:cNvPr>
            <p:cNvSpPr/>
            <p:nvPr/>
          </p:nvSpPr>
          <p:spPr>
            <a:xfrm>
              <a:off x="8613900" y="4597446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CDDDA135-170F-E545-872E-277F8BA7DEC6}"/>
                </a:ext>
              </a:extLst>
            </p:cNvPr>
            <p:cNvSpPr/>
            <p:nvPr/>
          </p:nvSpPr>
          <p:spPr>
            <a:xfrm>
              <a:off x="9274630" y="3507897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497736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042D70A-611D-444B-888D-41DB055FEA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2962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042D70A-611D-444B-888D-41DB055FEA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3">
            <a:extLst>
              <a:ext uri="{FF2B5EF4-FFF2-40B4-BE49-F238E27FC236}">
                <a16:creationId xmlns:a16="http://schemas.microsoft.com/office/drawing/2014/main" id="{AB57EBE9-176D-5F4D-8209-6E45FB780C4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36035" y="-2037"/>
            <a:ext cx="10455965" cy="6860038"/>
          </a:xfrm>
          <a:custGeom>
            <a:avLst/>
            <a:gdLst/>
            <a:ahLst/>
            <a:cxnLst>
              <a:cxn ang="0">
                <a:pos x="8" y="24"/>
              </a:cxn>
              <a:cxn ang="0">
                <a:pos x="0" y="40"/>
              </a:cxn>
              <a:cxn ang="0">
                <a:pos x="204" y="0"/>
              </a:cxn>
              <a:cxn ang="0">
                <a:pos x="156" y="2"/>
              </a:cxn>
              <a:cxn ang="0">
                <a:pos x="204" y="48"/>
              </a:cxn>
              <a:cxn ang="0">
                <a:pos x="65" y="0"/>
              </a:cxn>
              <a:cxn ang="0">
                <a:pos x="62" y="71"/>
              </a:cxn>
              <a:cxn ang="0">
                <a:pos x="65" y="141"/>
              </a:cxn>
              <a:cxn ang="0">
                <a:pos x="65" y="0"/>
              </a:cxn>
              <a:cxn ang="0">
                <a:pos x="146" y="141"/>
              </a:cxn>
              <a:cxn ang="0">
                <a:pos x="108" y="104"/>
              </a:cxn>
              <a:cxn ang="0">
                <a:pos x="156" y="141"/>
              </a:cxn>
              <a:cxn ang="0">
                <a:pos x="204" y="124"/>
              </a:cxn>
              <a:cxn ang="0">
                <a:pos x="156" y="141"/>
              </a:cxn>
              <a:cxn ang="0">
                <a:pos x="204" y="60"/>
              </a:cxn>
              <a:cxn ang="0">
                <a:pos x="156" y="104"/>
              </a:cxn>
              <a:cxn ang="0">
                <a:pos x="73" y="96"/>
              </a:cxn>
              <a:cxn ang="0">
                <a:pos x="101" y="140"/>
              </a:cxn>
              <a:cxn ang="0">
                <a:pos x="73" y="96"/>
              </a:cxn>
              <a:cxn ang="0">
                <a:pos x="146" y="58"/>
              </a:cxn>
              <a:cxn ang="0">
                <a:pos x="108" y="95"/>
              </a:cxn>
              <a:cxn ang="0">
                <a:pos x="73" y="55"/>
              </a:cxn>
              <a:cxn ang="0">
                <a:pos x="101" y="94"/>
              </a:cxn>
              <a:cxn ang="0">
                <a:pos x="73" y="55"/>
              </a:cxn>
              <a:cxn ang="0">
                <a:pos x="146" y="4"/>
              </a:cxn>
              <a:cxn ang="0">
                <a:pos x="108" y="48"/>
              </a:cxn>
              <a:cxn ang="0">
                <a:pos x="73" y="14"/>
              </a:cxn>
              <a:cxn ang="0">
                <a:pos x="101" y="48"/>
              </a:cxn>
              <a:cxn ang="0">
                <a:pos x="73" y="14"/>
              </a:cxn>
              <a:cxn ang="0">
                <a:pos x="11" y="86"/>
              </a:cxn>
              <a:cxn ang="0">
                <a:pos x="1" y="103"/>
              </a:cxn>
              <a:cxn ang="0">
                <a:pos x="15" y="84"/>
              </a:cxn>
              <a:cxn ang="0">
                <a:pos x="25" y="105"/>
              </a:cxn>
              <a:cxn ang="0">
                <a:pos x="15" y="84"/>
              </a:cxn>
              <a:cxn ang="0">
                <a:pos x="55" y="87"/>
              </a:cxn>
              <a:cxn ang="0">
                <a:pos x="55" y="123"/>
              </a:cxn>
              <a:cxn ang="0">
                <a:pos x="33" y="99"/>
              </a:cxn>
              <a:cxn ang="0">
                <a:pos x="36" y="57"/>
              </a:cxn>
              <a:cxn ang="0">
                <a:pos x="48" y="78"/>
              </a:cxn>
              <a:cxn ang="0">
                <a:pos x="36" y="57"/>
              </a:cxn>
              <a:cxn ang="0">
                <a:pos x="31" y="50"/>
              </a:cxn>
              <a:cxn ang="0">
                <a:pos x="31" y="82"/>
              </a:cxn>
              <a:cxn ang="0">
                <a:pos x="13" y="64"/>
              </a:cxn>
              <a:cxn ang="0">
                <a:pos x="4" y="57"/>
              </a:cxn>
              <a:cxn ang="0">
                <a:pos x="10" y="69"/>
              </a:cxn>
              <a:cxn ang="0">
                <a:pos x="4" y="57"/>
              </a:cxn>
              <a:cxn ang="0">
                <a:pos x="18" y="33"/>
              </a:cxn>
              <a:cxn ang="0">
                <a:pos x="11" y="45"/>
              </a:cxn>
              <a:cxn ang="0">
                <a:pos x="37" y="20"/>
              </a:cxn>
              <a:cxn ang="0">
                <a:pos x="53" y="44"/>
              </a:cxn>
              <a:cxn ang="0">
                <a:pos x="37" y="20"/>
              </a:cxn>
              <a:cxn ang="0">
                <a:pos x="34" y="23"/>
              </a:cxn>
              <a:cxn ang="0">
                <a:pos x="23" y="42"/>
              </a:cxn>
            </a:cxnLst>
            <a:rect l="0" t="0" r="r" b="b"/>
            <a:pathLst>
              <a:path w="204" h="141">
                <a:moveTo>
                  <a:pt x="0" y="25"/>
                </a:moveTo>
                <a:cubicBezTo>
                  <a:pt x="3" y="25"/>
                  <a:pt x="5" y="25"/>
                  <a:pt x="8" y="24"/>
                </a:cubicBezTo>
                <a:cubicBezTo>
                  <a:pt x="8" y="30"/>
                  <a:pt x="8" y="35"/>
                  <a:pt x="8" y="40"/>
                </a:cubicBezTo>
                <a:cubicBezTo>
                  <a:pt x="5" y="40"/>
                  <a:pt x="3" y="40"/>
                  <a:pt x="0" y="40"/>
                </a:cubicBezTo>
                <a:cubicBezTo>
                  <a:pt x="0" y="35"/>
                  <a:pt x="0" y="30"/>
                  <a:pt x="0" y="25"/>
                </a:cubicBezTo>
                <a:close/>
                <a:moveTo>
                  <a:pt x="204" y="0"/>
                </a:moveTo>
                <a:lnTo>
                  <a:pt x="172" y="0"/>
                </a:lnTo>
                <a:lnTo>
                  <a:pt x="156" y="2"/>
                </a:lnTo>
                <a:cubicBezTo>
                  <a:pt x="156" y="18"/>
                  <a:pt x="156" y="33"/>
                  <a:pt x="156" y="48"/>
                </a:cubicBezTo>
                <a:lnTo>
                  <a:pt x="204" y="48"/>
                </a:lnTo>
                <a:lnTo>
                  <a:pt x="204" y="0"/>
                </a:lnTo>
                <a:close/>
                <a:moveTo>
                  <a:pt x="65" y="0"/>
                </a:moveTo>
                <a:lnTo>
                  <a:pt x="62" y="0"/>
                </a:lnTo>
                <a:cubicBezTo>
                  <a:pt x="62" y="24"/>
                  <a:pt x="62" y="47"/>
                  <a:pt x="62" y="71"/>
                </a:cubicBezTo>
                <a:cubicBezTo>
                  <a:pt x="62" y="94"/>
                  <a:pt x="63" y="117"/>
                  <a:pt x="63" y="141"/>
                </a:cubicBezTo>
                <a:lnTo>
                  <a:pt x="65" y="141"/>
                </a:lnTo>
                <a:cubicBezTo>
                  <a:pt x="65" y="118"/>
                  <a:pt x="65" y="94"/>
                  <a:pt x="65" y="71"/>
                </a:cubicBezTo>
                <a:lnTo>
                  <a:pt x="65" y="0"/>
                </a:lnTo>
                <a:close/>
                <a:moveTo>
                  <a:pt x="108" y="141"/>
                </a:moveTo>
                <a:lnTo>
                  <a:pt x="146" y="141"/>
                </a:lnTo>
                <a:cubicBezTo>
                  <a:pt x="146" y="131"/>
                  <a:pt x="146" y="121"/>
                  <a:pt x="146" y="112"/>
                </a:cubicBezTo>
                <a:cubicBezTo>
                  <a:pt x="132" y="109"/>
                  <a:pt x="120" y="106"/>
                  <a:pt x="108" y="104"/>
                </a:cubicBezTo>
                <a:cubicBezTo>
                  <a:pt x="108" y="116"/>
                  <a:pt x="108" y="129"/>
                  <a:pt x="108" y="141"/>
                </a:cubicBezTo>
                <a:close/>
                <a:moveTo>
                  <a:pt x="156" y="141"/>
                </a:moveTo>
                <a:lnTo>
                  <a:pt x="204" y="141"/>
                </a:lnTo>
                <a:lnTo>
                  <a:pt x="204" y="124"/>
                </a:lnTo>
                <a:cubicBezTo>
                  <a:pt x="187" y="120"/>
                  <a:pt x="171" y="117"/>
                  <a:pt x="156" y="114"/>
                </a:cubicBezTo>
                <a:lnTo>
                  <a:pt x="156" y="141"/>
                </a:lnTo>
                <a:close/>
                <a:moveTo>
                  <a:pt x="204" y="112"/>
                </a:moveTo>
                <a:lnTo>
                  <a:pt x="204" y="60"/>
                </a:lnTo>
                <a:lnTo>
                  <a:pt x="156" y="58"/>
                </a:lnTo>
                <a:cubicBezTo>
                  <a:pt x="156" y="73"/>
                  <a:pt x="156" y="89"/>
                  <a:pt x="156" y="104"/>
                </a:cubicBezTo>
                <a:cubicBezTo>
                  <a:pt x="171" y="106"/>
                  <a:pt x="187" y="109"/>
                  <a:pt x="204" y="112"/>
                </a:cubicBezTo>
                <a:close/>
                <a:moveTo>
                  <a:pt x="73" y="96"/>
                </a:moveTo>
                <a:cubicBezTo>
                  <a:pt x="82" y="98"/>
                  <a:pt x="91" y="100"/>
                  <a:pt x="101" y="102"/>
                </a:cubicBezTo>
                <a:cubicBezTo>
                  <a:pt x="101" y="115"/>
                  <a:pt x="101" y="127"/>
                  <a:pt x="101" y="140"/>
                </a:cubicBezTo>
                <a:cubicBezTo>
                  <a:pt x="91" y="136"/>
                  <a:pt x="82" y="133"/>
                  <a:pt x="73" y="130"/>
                </a:cubicBezTo>
                <a:cubicBezTo>
                  <a:pt x="73" y="119"/>
                  <a:pt x="73" y="108"/>
                  <a:pt x="73" y="96"/>
                </a:cubicBezTo>
                <a:close/>
                <a:moveTo>
                  <a:pt x="108" y="56"/>
                </a:moveTo>
                <a:cubicBezTo>
                  <a:pt x="120" y="57"/>
                  <a:pt x="132" y="57"/>
                  <a:pt x="146" y="58"/>
                </a:cubicBezTo>
                <a:cubicBezTo>
                  <a:pt x="146" y="72"/>
                  <a:pt x="146" y="87"/>
                  <a:pt x="146" y="102"/>
                </a:cubicBezTo>
                <a:cubicBezTo>
                  <a:pt x="132" y="100"/>
                  <a:pt x="120" y="97"/>
                  <a:pt x="108" y="95"/>
                </a:cubicBezTo>
                <a:cubicBezTo>
                  <a:pt x="108" y="82"/>
                  <a:pt x="108" y="69"/>
                  <a:pt x="108" y="56"/>
                </a:cubicBezTo>
                <a:close/>
                <a:moveTo>
                  <a:pt x="73" y="55"/>
                </a:moveTo>
                <a:cubicBezTo>
                  <a:pt x="81" y="56"/>
                  <a:pt x="91" y="56"/>
                  <a:pt x="101" y="56"/>
                </a:cubicBezTo>
                <a:cubicBezTo>
                  <a:pt x="101" y="69"/>
                  <a:pt x="101" y="81"/>
                  <a:pt x="101" y="94"/>
                </a:cubicBezTo>
                <a:cubicBezTo>
                  <a:pt x="91" y="92"/>
                  <a:pt x="82" y="90"/>
                  <a:pt x="73" y="89"/>
                </a:cubicBezTo>
                <a:cubicBezTo>
                  <a:pt x="73" y="78"/>
                  <a:pt x="73" y="67"/>
                  <a:pt x="73" y="55"/>
                </a:cubicBezTo>
                <a:close/>
                <a:moveTo>
                  <a:pt x="108" y="9"/>
                </a:moveTo>
                <a:cubicBezTo>
                  <a:pt x="119" y="8"/>
                  <a:pt x="132" y="6"/>
                  <a:pt x="146" y="4"/>
                </a:cubicBezTo>
                <a:cubicBezTo>
                  <a:pt x="146" y="19"/>
                  <a:pt x="146" y="33"/>
                  <a:pt x="146" y="48"/>
                </a:cubicBezTo>
                <a:cubicBezTo>
                  <a:pt x="132" y="48"/>
                  <a:pt x="120" y="48"/>
                  <a:pt x="108" y="48"/>
                </a:cubicBezTo>
                <a:cubicBezTo>
                  <a:pt x="108" y="35"/>
                  <a:pt x="108" y="22"/>
                  <a:pt x="108" y="9"/>
                </a:cubicBezTo>
                <a:close/>
                <a:moveTo>
                  <a:pt x="73" y="14"/>
                </a:moveTo>
                <a:cubicBezTo>
                  <a:pt x="81" y="13"/>
                  <a:pt x="91" y="12"/>
                  <a:pt x="101" y="10"/>
                </a:cubicBezTo>
                <a:cubicBezTo>
                  <a:pt x="101" y="23"/>
                  <a:pt x="101" y="35"/>
                  <a:pt x="101" y="48"/>
                </a:cubicBezTo>
                <a:cubicBezTo>
                  <a:pt x="91" y="48"/>
                  <a:pt x="81" y="48"/>
                  <a:pt x="73" y="48"/>
                </a:cubicBezTo>
                <a:cubicBezTo>
                  <a:pt x="73" y="37"/>
                  <a:pt x="73" y="25"/>
                  <a:pt x="73" y="14"/>
                </a:cubicBezTo>
                <a:close/>
                <a:moveTo>
                  <a:pt x="0" y="83"/>
                </a:moveTo>
                <a:cubicBezTo>
                  <a:pt x="4" y="84"/>
                  <a:pt x="7" y="85"/>
                  <a:pt x="11" y="86"/>
                </a:cubicBezTo>
                <a:cubicBezTo>
                  <a:pt x="11" y="93"/>
                  <a:pt x="11" y="100"/>
                  <a:pt x="11" y="107"/>
                </a:cubicBezTo>
                <a:cubicBezTo>
                  <a:pt x="8" y="105"/>
                  <a:pt x="4" y="104"/>
                  <a:pt x="1" y="103"/>
                </a:cubicBezTo>
                <a:cubicBezTo>
                  <a:pt x="0" y="96"/>
                  <a:pt x="0" y="90"/>
                  <a:pt x="0" y="83"/>
                </a:cubicBezTo>
                <a:close/>
                <a:moveTo>
                  <a:pt x="15" y="84"/>
                </a:moveTo>
                <a:cubicBezTo>
                  <a:pt x="18" y="85"/>
                  <a:pt x="21" y="86"/>
                  <a:pt x="24" y="87"/>
                </a:cubicBezTo>
                <a:cubicBezTo>
                  <a:pt x="25" y="93"/>
                  <a:pt x="25" y="99"/>
                  <a:pt x="25" y="105"/>
                </a:cubicBezTo>
                <a:cubicBezTo>
                  <a:pt x="21" y="103"/>
                  <a:pt x="18" y="102"/>
                  <a:pt x="15" y="101"/>
                </a:cubicBezTo>
                <a:cubicBezTo>
                  <a:pt x="15" y="96"/>
                  <a:pt x="15" y="90"/>
                  <a:pt x="15" y="84"/>
                </a:cubicBezTo>
                <a:close/>
                <a:moveTo>
                  <a:pt x="33" y="83"/>
                </a:moveTo>
                <a:cubicBezTo>
                  <a:pt x="40" y="84"/>
                  <a:pt x="47" y="85"/>
                  <a:pt x="55" y="87"/>
                </a:cubicBezTo>
                <a:cubicBezTo>
                  <a:pt x="55" y="93"/>
                  <a:pt x="55" y="99"/>
                  <a:pt x="55" y="105"/>
                </a:cubicBezTo>
                <a:cubicBezTo>
                  <a:pt x="55" y="111"/>
                  <a:pt x="55" y="117"/>
                  <a:pt x="55" y="123"/>
                </a:cubicBezTo>
                <a:cubicBezTo>
                  <a:pt x="47" y="120"/>
                  <a:pt x="40" y="118"/>
                  <a:pt x="33" y="115"/>
                </a:cubicBezTo>
                <a:cubicBezTo>
                  <a:pt x="33" y="110"/>
                  <a:pt x="33" y="104"/>
                  <a:pt x="33" y="99"/>
                </a:cubicBezTo>
                <a:cubicBezTo>
                  <a:pt x="33" y="94"/>
                  <a:pt x="33" y="88"/>
                  <a:pt x="33" y="83"/>
                </a:cubicBezTo>
                <a:close/>
                <a:moveTo>
                  <a:pt x="36" y="57"/>
                </a:moveTo>
                <a:cubicBezTo>
                  <a:pt x="40" y="57"/>
                  <a:pt x="44" y="57"/>
                  <a:pt x="48" y="58"/>
                </a:cubicBezTo>
                <a:cubicBezTo>
                  <a:pt x="48" y="64"/>
                  <a:pt x="48" y="71"/>
                  <a:pt x="48" y="78"/>
                </a:cubicBezTo>
                <a:cubicBezTo>
                  <a:pt x="44" y="77"/>
                  <a:pt x="40" y="77"/>
                  <a:pt x="36" y="76"/>
                </a:cubicBezTo>
                <a:cubicBezTo>
                  <a:pt x="36" y="70"/>
                  <a:pt x="36" y="63"/>
                  <a:pt x="36" y="57"/>
                </a:cubicBezTo>
                <a:close/>
                <a:moveTo>
                  <a:pt x="13" y="50"/>
                </a:moveTo>
                <a:cubicBezTo>
                  <a:pt x="19" y="50"/>
                  <a:pt x="25" y="50"/>
                  <a:pt x="31" y="50"/>
                </a:cubicBezTo>
                <a:cubicBezTo>
                  <a:pt x="31" y="55"/>
                  <a:pt x="31" y="61"/>
                  <a:pt x="31" y="66"/>
                </a:cubicBezTo>
                <a:cubicBezTo>
                  <a:pt x="31" y="71"/>
                  <a:pt x="31" y="77"/>
                  <a:pt x="31" y="82"/>
                </a:cubicBezTo>
                <a:cubicBezTo>
                  <a:pt x="25" y="81"/>
                  <a:pt x="19" y="80"/>
                  <a:pt x="13" y="79"/>
                </a:cubicBezTo>
                <a:cubicBezTo>
                  <a:pt x="13" y="74"/>
                  <a:pt x="13" y="69"/>
                  <a:pt x="13" y="64"/>
                </a:cubicBezTo>
                <a:cubicBezTo>
                  <a:pt x="13" y="59"/>
                  <a:pt x="13" y="54"/>
                  <a:pt x="13" y="50"/>
                </a:cubicBezTo>
                <a:close/>
                <a:moveTo>
                  <a:pt x="4" y="57"/>
                </a:moveTo>
                <a:cubicBezTo>
                  <a:pt x="6" y="57"/>
                  <a:pt x="8" y="57"/>
                  <a:pt x="10" y="57"/>
                </a:cubicBezTo>
                <a:cubicBezTo>
                  <a:pt x="10" y="61"/>
                  <a:pt x="10" y="65"/>
                  <a:pt x="10" y="69"/>
                </a:cubicBezTo>
                <a:cubicBezTo>
                  <a:pt x="8" y="69"/>
                  <a:pt x="6" y="69"/>
                  <a:pt x="4" y="68"/>
                </a:cubicBezTo>
                <a:cubicBezTo>
                  <a:pt x="4" y="65"/>
                  <a:pt x="4" y="61"/>
                  <a:pt x="4" y="57"/>
                </a:cubicBezTo>
                <a:close/>
                <a:moveTo>
                  <a:pt x="11" y="33"/>
                </a:moveTo>
                <a:cubicBezTo>
                  <a:pt x="13" y="33"/>
                  <a:pt x="15" y="33"/>
                  <a:pt x="18" y="33"/>
                </a:cubicBezTo>
                <a:cubicBezTo>
                  <a:pt x="18" y="37"/>
                  <a:pt x="18" y="41"/>
                  <a:pt x="18" y="45"/>
                </a:cubicBezTo>
                <a:cubicBezTo>
                  <a:pt x="15" y="45"/>
                  <a:pt x="13" y="45"/>
                  <a:pt x="11" y="45"/>
                </a:cubicBezTo>
                <a:cubicBezTo>
                  <a:pt x="11" y="41"/>
                  <a:pt x="11" y="37"/>
                  <a:pt x="11" y="33"/>
                </a:cubicBezTo>
                <a:close/>
                <a:moveTo>
                  <a:pt x="37" y="20"/>
                </a:moveTo>
                <a:cubicBezTo>
                  <a:pt x="42" y="20"/>
                  <a:pt x="47" y="19"/>
                  <a:pt x="53" y="18"/>
                </a:cubicBezTo>
                <a:cubicBezTo>
                  <a:pt x="53" y="27"/>
                  <a:pt x="53" y="35"/>
                  <a:pt x="53" y="44"/>
                </a:cubicBezTo>
                <a:cubicBezTo>
                  <a:pt x="47" y="44"/>
                  <a:pt x="42" y="44"/>
                  <a:pt x="37" y="44"/>
                </a:cubicBezTo>
                <a:cubicBezTo>
                  <a:pt x="37" y="36"/>
                  <a:pt x="37" y="28"/>
                  <a:pt x="37" y="20"/>
                </a:cubicBezTo>
                <a:close/>
                <a:moveTo>
                  <a:pt x="22" y="24"/>
                </a:moveTo>
                <a:cubicBezTo>
                  <a:pt x="26" y="24"/>
                  <a:pt x="30" y="23"/>
                  <a:pt x="34" y="23"/>
                </a:cubicBezTo>
                <a:cubicBezTo>
                  <a:pt x="34" y="29"/>
                  <a:pt x="34" y="35"/>
                  <a:pt x="34" y="42"/>
                </a:cubicBezTo>
                <a:cubicBezTo>
                  <a:pt x="30" y="42"/>
                  <a:pt x="26" y="42"/>
                  <a:pt x="23" y="42"/>
                </a:cubicBezTo>
                <a:cubicBezTo>
                  <a:pt x="22" y="36"/>
                  <a:pt x="22" y="30"/>
                  <a:pt x="22" y="24"/>
                </a:cubicBezTo>
                <a:close/>
              </a:path>
            </a:pathLst>
          </a:custGeom>
          <a:solidFill>
            <a:srgbClr val="F3F4F7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AD1E6E-469A-464E-8995-70D252AACB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61000">
                <a:schemeClr val="bg1">
                  <a:alpha val="50000"/>
                </a:schemeClr>
              </a:gs>
              <a:gs pos="100000">
                <a:schemeClr val="bg1">
                  <a:alpha val="1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1687EA-BFFB-BC43-969A-1490C3D97E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ru-RU"/>
              <a:t>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618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_2 (With sour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5622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en-RU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5875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633EF7B-9EEC-4EE5-939B-2FA4DD1D2A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4BF8E27-B1FC-465A-976C-153C3EE801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4EB46EE-F091-4204-A057-7A91BEB6D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AE7D48-C32B-4408-8A91-1DE9F4EF94C1}" type="datetimeFigureOut">
              <a:rPr lang="ru-RU" smtClean="0"/>
              <a:t>15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67CE07-D312-41D8-B28E-52DEFC10A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432E626-3958-4A1D-878C-4D397CD89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2B29E-F3D3-4AA5-A4FD-8F5B5BEB04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315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5DB51C-22D4-CB1E-717F-53C377774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AFCF21-9D0F-9652-07FB-A9889739AD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0719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1429703"/>
              </p:ext>
            </p:extLst>
          </p:nvPr>
        </p:nvGraphicFramePr>
        <p:xfrm>
          <a:off x="1960" y="1597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0" y="1597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000" b="0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6244" y="388154"/>
            <a:ext cx="11520000" cy="3077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6244" y="146305"/>
            <a:ext cx="11520000" cy="184666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endParaRPr lang="ru-RU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50" y="6312181"/>
            <a:ext cx="11520488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24" indent="0" algn="ctr">
              <a:buNone/>
              <a:defRPr sz="2000"/>
            </a:lvl2pPr>
            <a:lvl3pPr marL="914446" indent="0" algn="ctr">
              <a:buNone/>
              <a:defRPr sz="1801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8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1 – </a:t>
            </a:r>
            <a:r>
              <a:rPr lang="ru-RU"/>
              <a:t>текст сноск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336245" y="6504109"/>
            <a:ext cx="9360000" cy="138499"/>
          </a:xfrm>
        </p:spPr>
        <p:txBody>
          <a:bodyPr wrap="square" anchor="t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Источник: анализ </a:t>
            </a:r>
            <a:r>
              <a:rPr lang="en-US"/>
              <a:t>Strategy Partner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46069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gradFill>
          <a:gsLst>
            <a:gs pos="10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93783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6" name="Graphic 122">
            <a:extLst>
              <a:ext uri="{FF2B5EF4-FFF2-40B4-BE49-F238E27FC236}">
                <a16:creationId xmlns:a16="http://schemas.microsoft.com/office/drawing/2014/main" id="{BC8B2B37-B07F-9248-A69D-747BC3D594F6}"/>
              </a:ext>
            </a:extLst>
          </p:cNvPr>
          <p:cNvGrpSpPr/>
          <p:nvPr userDrawn="1"/>
        </p:nvGrpSpPr>
        <p:grpSpPr>
          <a:xfrm>
            <a:off x="1563465" y="944855"/>
            <a:ext cx="291284" cy="296931"/>
            <a:chOff x="7812275" y="2926746"/>
            <a:chExt cx="3880361" cy="3955593"/>
          </a:xfrm>
          <a:solidFill>
            <a:schemeClr val="bg1">
              <a:alpha val="64000"/>
            </a:schemeClr>
          </a:solidFill>
        </p:grpSpPr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18BD5040-D9A3-704D-8F8F-1923F1F56E6B}"/>
                </a:ext>
              </a:extLst>
            </p:cNvPr>
            <p:cNvSpPr/>
            <p:nvPr/>
          </p:nvSpPr>
          <p:spPr>
            <a:xfrm>
              <a:off x="7812275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486706FA-4114-1A43-9B20-A4727093BBF4}"/>
                </a:ext>
              </a:extLst>
            </p:cNvPr>
            <p:cNvSpPr/>
            <p:nvPr/>
          </p:nvSpPr>
          <p:spPr>
            <a:xfrm>
              <a:off x="9179801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1AE01166-8421-854A-8ACB-87E4A37AE2AB}"/>
                </a:ext>
              </a:extLst>
            </p:cNvPr>
            <p:cNvSpPr/>
            <p:nvPr/>
          </p:nvSpPr>
          <p:spPr>
            <a:xfrm>
              <a:off x="10547327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E46D0A3E-436B-774B-A9EC-D35AD78516D5}"/>
                </a:ext>
              </a:extLst>
            </p:cNvPr>
            <p:cNvSpPr/>
            <p:nvPr/>
          </p:nvSpPr>
          <p:spPr>
            <a:xfrm>
              <a:off x="7812275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 130">
              <a:extLst>
                <a:ext uri="{FF2B5EF4-FFF2-40B4-BE49-F238E27FC236}">
                  <a16:creationId xmlns:a16="http://schemas.microsoft.com/office/drawing/2014/main" id="{ECDFD785-A22E-5A4F-B072-A6462E0B3A84}"/>
                </a:ext>
              </a:extLst>
            </p:cNvPr>
            <p:cNvSpPr/>
            <p:nvPr/>
          </p:nvSpPr>
          <p:spPr>
            <a:xfrm>
              <a:off x="9179801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 131">
              <a:extLst>
                <a:ext uri="{FF2B5EF4-FFF2-40B4-BE49-F238E27FC236}">
                  <a16:creationId xmlns:a16="http://schemas.microsoft.com/office/drawing/2014/main" id="{2054912E-3892-DD41-ACAB-9C828D4BB97C}"/>
                </a:ext>
              </a:extLst>
            </p:cNvPr>
            <p:cNvSpPr/>
            <p:nvPr/>
          </p:nvSpPr>
          <p:spPr>
            <a:xfrm>
              <a:off x="10547327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 132">
              <a:extLst>
                <a:ext uri="{FF2B5EF4-FFF2-40B4-BE49-F238E27FC236}">
                  <a16:creationId xmlns:a16="http://schemas.microsoft.com/office/drawing/2014/main" id="{39C2451E-E14A-8E4A-82D5-7B01521C462E}"/>
                </a:ext>
              </a:extLst>
            </p:cNvPr>
            <p:cNvSpPr/>
            <p:nvPr/>
          </p:nvSpPr>
          <p:spPr>
            <a:xfrm>
              <a:off x="7812275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 133">
              <a:extLst>
                <a:ext uri="{FF2B5EF4-FFF2-40B4-BE49-F238E27FC236}">
                  <a16:creationId xmlns:a16="http://schemas.microsoft.com/office/drawing/2014/main" id="{ABD3A0D5-E436-9F4B-962C-B40AB9F42402}"/>
                </a:ext>
              </a:extLst>
            </p:cNvPr>
            <p:cNvSpPr/>
            <p:nvPr/>
          </p:nvSpPr>
          <p:spPr>
            <a:xfrm>
              <a:off x="9179801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 134">
              <a:extLst>
                <a:ext uri="{FF2B5EF4-FFF2-40B4-BE49-F238E27FC236}">
                  <a16:creationId xmlns:a16="http://schemas.microsoft.com/office/drawing/2014/main" id="{A11A6C87-546C-8F4C-A406-6E976964DDD7}"/>
                </a:ext>
              </a:extLst>
            </p:cNvPr>
            <p:cNvSpPr/>
            <p:nvPr/>
          </p:nvSpPr>
          <p:spPr>
            <a:xfrm>
              <a:off x="10547327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7" name="Freeform 136">
            <a:extLst>
              <a:ext uri="{FF2B5EF4-FFF2-40B4-BE49-F238E27FC236}">
                <a16:creationId xmlns:a16="http://schemas.microsoft.com/office/drawing/2014/main" id="{35179DCD-C738-A94B-A7D2-06AD11198EC5}"/>
              </a:ext>
            </a:extLst>
          </p:cNvPr>
          <p:cNvSpPr/>
          <p:nvPr/>
        </p:nvSpPr>
        <p:spPr>
          <a:xfrm>
            <a:off x="1292712" y="1036634"/>
            <a:ext cx="99576" cy="99748"/>
          </a:xfrm>
          <a:custGeom>
            <a:avLst/>
            <a:gdLst>
              <a:gd name="connsiteX0" fmla="*/ 0 w 1326503"/>
              <a:gd name="connsiteY0" fmla="*/ 0 h 1328804"/>
              <a:gd name="connsiteX1" fmla="*/ 1326503 w 1326503"/>
              <a:gd name="connsiteY1" fmla="*/ 0 h 1328804"/>
              <a:gd name="connsiteX2" fmla="*/ 1326503 w 1326503"/>
              <a:gd name="connsiteY2" fmla="*/ 1328805 h 1328804"/>
              <a:gd name="connsiteX3" fmla="*/ 0 w 1326503"/>
              <a:gd name="connsiteY3" fmla="*/ 1328805 h 132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503" h="1328804">
                <a:moveTo>
                  <a:pt x="0" y="0"/>
                </a:moveTo>
                <a:lnTo>
                  <a:pt x="1326503" y="0"/>
                </a:lnTo>
                <a:lnTo>
                  <a:pt x="1326503" y="1328805"/>
                </a:lnTo>
                <a:lnTo>
                  <a:pt x="0" y="1328805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38" name="Freeform 137">
            <a:extLst>
              <a:ext uri="{FF2B5EF4-FFF2-40B4-BE49-F238E27FC236}">
                <a16:creationId xmlns:a16="http://schemas.microsoft.com/office/drawing/2014/main" id="{C8432FF6-52A7-2846-A8F7-FC292181C717}"/>
              </a:ext>
            </a:extLst>
          </p:cNvPr>
          <p:cNvSpPr/>
          <p:nvPr/>
        </p:nvSpPr>
        <p:spPr>
          <a:xfrm>
            <a:off x="1397420" y="1136383"/>
            <a:ext cx="99576" cy="99748"/>
          </a:xfrm>
          <a:custGeom>
            <a:avLst/>
            <a:gdLst>
              <a:gd name="connsiteX0" fmla="*/ 0 w 1326503"/>
              <a:gd name="connsiteY0" fmla="*/ 0 h 1328804"/>
              <a:gd name="connsiteX1" fmla="*/ 1326503 w 1326503"/>
              <a:gd name="connsiteY1" fmla="*/ 0 h 1328804"/>
              <a:gd name="connsiteX2" fmla="*/ 1326503 w 1326503"/>
              <a:gd name="connsiteY2" fmla="*/ 1328805 h 1328804"/>
              <a:gd name="connsiteX3" fmla="*/ 0 w 1326503"/>
              <a:gd name="connsiteY3" fmla="*/ 1328805 h 132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503" h="1328804">
                <a:moveTo>
                  <a:pt x="0" y="0"/>
                </a:moveTo>
                <a:lnTo>
                  <a:pt x="1326503" y="0"/>
                </a:lnTo>
                <a:lnTo>
                  <a:pt x="1326503" y="1328805"/>
                </a:lnTo>
                <a:lnTo>
                  <a:pt x="0" y="1328805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39" name="Freeform 138">
            <a:extLst>
              <a:ext uri="{FF2B5EF4-FFF2-40B4-BE49-F238E27FC236}">
                <a16:creationId xmlns:a16="http://schemas.microsoft.com/office/drawing/2014/main" id="{33B9A593-4F2E-D64D-BDEA-181F5781DE5A}"/>
              </a:ext>
            </a:extLst>
          </p:cNvPr>
          <p:cNvSpPr/>
          <p:nvPr/>
        </p:nvSpPr>
        <p:spPr>
          <a:xfrm>
            <a:off x="1417438" y="947426"/>
            <a:ext cx="71859" cy="71983"/>
          </a:xfrm>
          <a:custGeom>
            <a:avLst/>
            <a:gdLst>
              <a:gd name="connsiteX0" fmla="*/ 0 w 957270"/>
              <a:gd name="connsiteY0" fmla="*/ 0 h 958931"/>
              <a:gd name="connsiteX1" fmla="*/ 957270 w 957270"/>
              <a:gd name="connsiteY1" fmla="*/ 0 h 958931"/>
              <a:gd name="connsiteX2" fmla="*/ 957270 w 957270"/>
              <a:gd name="connsiteY2" fmla="*/ 958931 h 958931"/>
              <a:gd name="connsiteX3" fmla="*/ 0 w 957270"/>
              <a:gd name="connsiteY3" fmla="*/ 958931 h 95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270" h="958931">
                <a:moveTo>
                  <a:pt x="0" y="0"/>
                </a:moveTo>
                <a:lnTo>
                  <a:pt x="957270" y="0"/>
                </a:lnTo>
                <a:lnTo>
                  <a:pt x="957270" y="958931"/>
                </a:lnTo>
                <a:lnTo>
                  <a:pt x="0" y="958931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0" name="Freeform 139">
            <a:extLst>
              <a:ext uri="{FF2B5EF4-FFF2-40B4-BE49-F238E27FC236}">
                <a16:creationId xmlns:a16="http://schemas.microsoft.com/office/drawing/2014/main" id="{8C787F8F-676C-4E47-9D5D-A816CF58C220}"/>
              </a:ext>
            </a:extLst>
          </p:cNvPr>
          <p:cNvSpPr/>
          <p:nvPr/>
        </p:nvSpPr>
        <p:spPr>
          <a:xfrm>
            <a:off x="1203145" y="1162605"/>
            <a:ext cx="71859" cy="71983"/>
          </a:xfrm>
          <a:custGeom>
            <a:avLst/>
            <a:gdLst>
              <a:gd name="connsiteX0" fmla="*/ 0 w 957270"/>
              <a:gd name="connsiteY0" fmla="*/ 0 h 958931"/>
              <a:gd name="connsiteX1" fmla="*/ 957270 w 957270"/>
              <a:gd name="connsiteY1" fmla="*/ 0 h 958931"/>
              <a:gd name="connsiteX2" fmla="*/ 957270 w 957270"/>
              <a:gd name="connsiteY2" fmla="*/ 958931 h 958931"/>
              <a:gd name="connsiteX3" fmla="*/ 0 w 957270"/>
              <a:gd name="connsiteY3" fmla="*/ 958931 h 95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270" h="958931">
                <a:moveTo>
                  <a:pt x="0" y="0"/>
                </a:moveTo>
                <a:lnTo>
                  <a:pt x="957270" y="0"/>
                </a:lnTo>
                <a:lnTo>
                  <a:pt x="957270" y="958931"/>
                </a:lnTo>
                <a:lnTo>
                  <a:pt x="0" y="958931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1" name="Freeform 140">
            <a:extLst>
              <a:ext uri="{FF2B5EF4-FFF2-40B4-BE49-F238E27FC236}">
                <a16:creationId xmlns:a16="http://schemas.microsoft.com/office/drawing/2014/main" id="{4285A921-F02E-AB44-AEEB-D5D56E2D2147}"/>
              </a:ext>
            </a:extLst>
          </p:cNvPr>
          <p:cNvSpPr/>
          <p:nvPr/>
        </p:nvSpPr>
        <p:spPr>
          <a:xfrm>
            <a:off x="1203145" y="949997"/>
            <a:ext cx="53894" cy="53988"/>
          </a:xfrm>
          <a:custGeom>
            <a:avLst/>
            <a:gdLst>
              <a:gd name="connsiteX0" fmla="*/ 0 w 717952"/>
              <a:gd name="connsiteY0" fmla="*/ 0 h 719198"/>
              <a:gd name="connsiteX1" fmla="*/ 717953 w 717952"/>
              <a:gd name="connsiteY1" fmla="*/ 0 h 719198"/>
              <a:gd name="connsiteX2" fmla="*/ 717953 w 717952"/>
              <a:gd name="connsiteY2" fmla="*/ 719199 h 719198"/>
              <a:gd name="connsiteX3" fmla="*/ 0 w 717952"/>
              <a:gd name="connsiteY3" fmla="*/ 719199 h 71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952" h="719198">
                <a:moveTo>
                  <a:pt x="0" y="0"/>
                </a:moveTo>
                <a:lnTo>
                  <a:pt x="717953" y="0"/>
                </a:lnTo>
                <a:lnTo>
                  <a:pt x="717953" y="719199"/>
                </a:lnTo>
                <a:lnTo>
                  <a:pt x="0" y="719199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2" name="Freeform 141">
            <a:extLst>
              <a:ext uri="{FF2B5EF4-FFF2-40B4-BE49-F238E27FC236}">
                <a16:creationId xmlns:a16="http://schemas.microsoft.com/office/drawing/2014/main" id="{53251AD3-16FD-F54D-A012-96974B233FC8}"/>
              </a:ext>
            </a:extLst>
          </p:cNvPr>
          <p:cNvSpPr/>
          <p:nvPr/>
        </p:nvSpPr>
        <p:spPr>
          <a:xfrm>
            <a:off x="1344296" y="957709"/>
            <a:ext cx="53894" cy="53988"/>
          </a:xfrm>
          <a:custGeom>
            <a:avLst/>
            <a:gdLst>
              <a:gd name="connsiteX0" fmla="*/ 0 w 717952"/>
              <a:gd name="connsiteY0" fmla="*/ 0 h 719198"/>
              <a:gd name="connsiteX1" fmla="*/ 717953 w 717952"/>
              <a:gd name="connsiteY1" fmla="*/ 0 h 719198"/>
              <a:gd name="connsiteX2" fmla="*/ 717953 w 717952"/>
              <a:gd name="connsiteY2" fmla="*/ 719199 h 719198"/>
              <a:gd name="connsiteX3" fmla="*/ 0 w 717952"/>
              <a:gd name="connsiteY3" fmla="*/ 719199 h 71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952" h="719198">
                <a:moveTo>
                  <a:pt x="0" y="0"/>
                </a:moveTo>
                <a:lnTo>
                  <a:pt x="717953" y="0"/>
                </a:lnTo>
                <a:lnTo>
                  <a:pt x="717953" y="719199"/>
                </a:lnTo>
                <a:lnTo>
                  <a:pt x="0" y="719199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3" name="Freeform 142">
            <a:extLst>
              <a:ext uri="{FF2B5EF4-FFF2-40B4-BE49-F238E27FC236}">
                <a16:creationId xmlns:a16="http://schemas.microsoft.com/office/drawing/2014/main" id="{FE95D203-16E4-5345-BBD5-5CBB8957E32B}"/>
              </a:ext>
            </a:extLst>
          </p:cNvPr>
          <p:cNvSpPr/>
          <p:nvPr/>
        </p:nvSpPr>
        <p:spPr>
          <a:xfrm>
            <a:off x="1409739" y="1059515"/>
            <a:ext cx="58514" cy="58615"/>
          </a:xfrm>
          <a:custGeom>
            <a:avLst/>
            <a:gdLst>
              <a:gd name="connsiteX0" fmla="*/ 0 w 779491"/>
              <a:gd name="connsiteY0" fmla="*/ 0 h 780844"/>
              <a:gd name="connsiteX1" fmla="*/ 779492 w 779491"/>
              <a:gd name="connsiteY1" fmla="*/ 0 h 780844"/>
              <a:gd name="connsiteX2" fmla="*/ 779492 w 779491"/>
              <a:gd name="connsiteY2" fmla="*/ 780844 h 780844"/>
              <a:gd name="connsiteX3" fmla="*/ 0 w 779491"/>
              <a:gd name="connsiteY3" fmla="*/ 780844 h 78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491" h="780844">
                <a:moveTo>
                  <a:pt x="0" y="0"/>
                </a:moveTo>
                <a:lnTo>
                  <a:pt x="779492" y="0"/>
                </a:lnTo>
                <a:lnTo>
                  <a:pt x="779492" y="780844"/>
                </a:lnTo>
                <a:lnTo>
                  <a:pt x="0" y="78084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4" name="Freeform 143">
            <a:extLst>
              <a:ext uri="{FF2B5EF4-FFF2-40B4-BE49-F238E27FC236}">
                <a16:creationId xmlns:a16="http://schemas.microsoft.com/office/drawing/2014/main" id="{9A67F35D-C978-714A-91D8-0993C7A48710}"/>
              </a:ext>
            </a:extLst>
          </p:cNvPr>
          <p:cNvSpPr/>
          <p:nvPr/>
        </p:nvSpPr>
        <p:spPr>
          <a:xfrm>
            <a:off x="1297331" y="1152836"/>
            <a:ext cx="58514" cy="58615"/>
          </a:xfrm>
          <a:custGeom>
            <a:avLst/>
            <a:gdLst>
              <a:gd name="connsiteX0" fmla="*/ 0 w 779491"/>
              <a:gd name="connsiteY0" fmla="*/ 0 h 780844"/>
              <a:gd name="connsiteX1" fmla="*/ 779492 w 779491"/>
              <a:gd name="connsiteY1" fmla="*/ 0 h 780844"/>
              <a:gd name="connsiteX2" fmla="*/ 779492 w 779491"/>
              <a:gd name="connsiteY2" fmla="*/ 780844 h 780844"/>
              <a:gd name="connsiteX3" fmla="*/ 0 w 779491"/>
              <a:gd name="connsiteY3" fmla="*/ 780844 h 78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491" h="780844">
                <a:moveTo>
                  <a:pt x="0" y="0"/>
                </a:moveTo>
                <a:lnTo>
                  <a:pt x="779492" y="0"/>
                </a:lnTo>
                <a:lnTo>
                  <a:pt x="779492" y="780844"/>
                </a:lnTo>
                <a:lnTo>
                  <a:pt x="0" y="78084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5" name="Freeform 144">
            <a:extLst>
              <a:ext uri="{FF2B5EF4-FFF2-40B4-BE49-F238E27FC236}">
                <a16:creationId xmlns:a16="http://schemas.microsoft.com/office/drawing/2014/main" id="{DE95C6C6-C05E-6A4F-BC5A-33CD38B6435C}"/>
              </a:ext>
            </a:extLst>
          </p:cNvPr>
          <p:cNvSpPr/>
          <p:nvPr/>
        </p:nvSpPr>
        <p:spPr>
          <a:xfrm>
            <a:off x="1225986" y="1064913"/>
            <a:ext cx="42859" cy="42933"/>
          </a:xfrm>
          <a:custGeom>
            <a:avLst/>
            <a:gdLst>
              <a:gd name="connsiteX0" fmla="*/ 0 w 570943"/>
              <a:gd name="connsiteY0" fmla="*/ 0 h 571934"/>
              <a:gd name="connsiteX1" fmla="*/ 570943 w 570943"/>
              <a:gd name="connsiteY1" fmla="*/ 0 h 571934"/>
              <a:gd name="connsiteX2" fmla="*/ 570943 w 570943"/>
              <a:gd name="connsiteY2" fmla="*/ 571934 h 571934"/>
              <a:gd name="connsiteX3" fmla="*/ 0 w 570943"/>
              <a:gd name="connsiteY3" fmla="*/ 571934 h 57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943" h="571934">
                <a:moveTo>
                  <a:pt x="0" y="0"/>
                </a:moveTo>
                <a:lnTo>
                  <a:pt x="570943" y="0"/>
                </a:lnTo>
                <a:lnTo>
                  <a:pt x="570943" y="571934"/>
                </a:lnTo>
                <a:lnTo>
                  <a:pt x="0" y="57193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6" name="Freeform 145">
            <a:extLst>
              <a:ext uri="{FF2B5EF4-FFF2-40B4-BE49-F238E27FC236}">
                <a16:creationId xmlns:a16="http://schemas.microsoft.com/office/drawing/2014/main" id="{25715F42-A331-F04E-BC28-451E68835BA0}"/>
              </a:ext>
            </a:extLst>
          </p:cNvPr>
          <p:cNvSpPr/>
          <p:nvPr/>
        </p:nvSpPr>
        <p:spPr>
          <a:xfrm>
            <a:off x="1276030" y="982389"/>
            <a:ext cx="42859" cy="42933"/>
          </a:xfrm>
          <a:custGeom>
            <a:avLst/>
            <a:gdLst>
              <a:gd name="connsiteX0" fmla="*/ 0 w 570943"/>
              <a:gd name="connsiteY0" fmla="*/ 0 h 571934"/>
              <a:gd name="connsiteX1" fmla="*/ 570943 w 570943"/>
              <a:gd name="connsiteY1" fmla="*/ 0 h 571934"/>
              <a:gd name="connsiteX2" fmla="*/ 570943 w 570943"/>
              <a:gd name="connsiteY2" fmla="*/ 571934 h 571934"/>
              <a:gd name="connsiteX3" fmla="*/ 0 w 570943"/>
              <a:gd name="connsiteY3" fmla="*/ 571934 h 57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943" h="571934">
                <a:moveTo>
                  <a:pt x="0" y="0"/>
                </a:moveTo>
                <a:lnTo>
                  <a:pt x="570943" y="0"/>
                </a:lnTo>
                <a:lnTo>
                  <a:pt x="570943" y="571934"/>
                </a:lnTo>
                <a:lnTo>
                  <a:pt x="0" y="57193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7" name="Freeform 146">
            <a:extLst>
              <a:ext uri="{FF2B5EF4-FFF2-40B4-BE49-F238E27FC236}">
                <a16:creationId xmlns:a16="http://schemas.microsoft.com/office/drawing/2014/main" id="{A3C597B9-2901-284E-B738-7BA888DE8940}"/>
              </a:ext>
            </a:extLst>
          </p:cNvPr>
          <p:cNvSpPr/>
          <p:nvPr/>
        </p:nvSpPr>
        <p:spPr>
          <a:xfrm>
            <a:off x="1525482" y="903722"/>
            <a:ext cx="10265" cy="379198"/>
          </a:xfrm>
          <a:custGeom>
            <a:avLst/>
            <a:gdLst>
              <a:gd name="connsiteX0" fmla="*/ 0 w 136752"/>
              <a:gd name="connsiteY0" fmla="*/ 0 h 5051513"/>
              <a:gd name="connsiteX1" fmla="*/ 136753 w 136752"/>
              <a:gd name="connsiteY1" fmla="*/ 0 h 5051513"/>
              <a:gd name="connsiteX2" fmla="*/ 136753 w 136752"/>
              <a:gd name="connsiteY2" fmla="*/ 5051513 h 5051513"/>
              <a:gd name="connsiteX3" fmla="*/ 0 w 136752"/>
              <a:gd name="connsiteY3" fmla="*/ 5051513 h 5051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752" h="5051513">
                <a:moveTo>
                  <a:pt x="0" y="0"/>
                </a:moveTo>
                <a:lnTo>
                  <a:pt x="136753" y="0"/>
                </a:lnTo>
                <a:lnTo>
                  <a:pt x="136753" y="5051513"/>
                </a:lnTo>
                <a:lnTo>
                  <a:pt x="0" y="5051513"/>
                </a:lnTo>
                <a:close/>
              </a:path>
            </a:pathLst>
          </a:custGeom>
          <a:solidFill>
            <a:srgbClr val="6C8DBD">
              <a:alpha val="64000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48" name="Graphic 122">
            <a:extLst>
              <a:ext uri="{FF2B5EF4-FFF2-40B4-BE49-F238E27FC236}">
                <a16:creationId xmlns:a16="http://schemas.microsoft.com/office/drawing/2014/main" id="{BC8B2B37-B07F-9248-A69D-747BC3D594F6}"/>
              </a:ext>
            </a:extLst>
          </p:cNvPr>
          <p:cNvGrpSpPr/>
          <p:nvPr userDrawn="1"/>
        </p:nvGrpSpPr>
        <p:grpSpPr>
          <a:xfrm>
            <a:off x="1937643" y="982904"/>
            <a:ext cx="746559" cy="219549"/>
            <a:chOff x="12796915" y="3433612"/>
            <a:chExt cx="9945355" cy="2924740"/>
          </a:xfrm>
          <a:solidFill>
            <a:schemeClr val="bg1">
              <a:alpha val="64000"/>
            </a:schemeClr>
          </a:solidFill>
        </p:grpSpPr>
        <p:sp>
          <p:nvSpPr>
            <p:cNvPr id="149" name="Freeform 148">
              <a:extLst>
                <a:ext uri="{FF2B5EF4-FFF2-40B4-BE49-F238E27FC236}">
                  <a16:creationId xmlns:a16="http://schemas.microsoft.com/office/drawing/2014/main" id="{DEB586AE-D533-1348-B0D1-D8824F368E91}"/>
                </a:ext>
              </a:extLst>
            </p:cNvPr>
            <p:cNvSpPr/>
            <p:nvPr/>
          </p:nvSpPr>
          <p:spPr>
            <a:xfrm>
              <a:off x="12796915" y="3433612"/>
              <a:ext cx="1996587" cy="2924740"/>
            </a:xfrm>
            <a:custGeom>
              <a:avLst/>
              <a:gdLst>
                <a:gd name="connsiteX0" fmla="*/ 588037 w 1996592"/>
                <a:gd name="connsiteY0" fmla="*/ 2554867 h 2924740"/>
                <a:gd name="connsiteX1" fmla="*/ 1005134 w 1996592"/>
                <a:gd name="connsiteY1" fmla="*/ 2681583 h 2924740"/>
                <a:gd name="connsiteX2" fmla="*/ 1408554 w 1996592"/>
                <a:gd name="connsiteY2" fmla="*/ 2328833 h 2924740"/>
                <a:gd name="connsiteX3" fmla="*/ 858124 w 1996592"/>
                <a:gd name="connsiteY3" fmla="*/ 1732926 h 2924740"/>
                <a:gd name="connsiteX4" fmla="*/ 136753 w 1996592"/>
                <a:gd name="connsiteY4" fmla="*/ 821941 h 2924740"/>
                <a:gd name="connsiteX5" fmla="*/ 1107698 w 1996592"/>
                <a:gd name="connsiteY5" fmla="*/ 0 h 2924740"/>
                <a:gd name="connsiteX6" fmla="*/ 1907703 w 1996592"/>
                <a:gd name="connsiteY6" fmla="*/ 85619 h 2924740"/>
                <a:gd name="connsiteX7" fmla="*/ 1832488 w 1996592"/>
                <a:gd name="connsiteY7" fmla="*/ 784269 h 2924740"/>
                <a:gd name="connsiteX8" fmla="*/ 1623941 w 1996592"/>
                <a:gd name="connsiteY8" fmla="*/ 787694 h 2924740"/>
                <a:gd name="connsiteX9" fmla="*/ 1422229 w 1996592"/>
                <a:gd name="connsiteY9" fmla="*/ 318502 h 2924740"/>
                <a:gd name="connsiteX10" fmla="*/ 1073510 w 1996592"/>
                <a:gd name="connsiteY10" fmla="*/ 215760 h 2924740"/>
                <a:gd name="connsiteX11" fmla="*/ 683765 w 1996592"/>
                <a:gd name="connsiteY11" fmla="*/ 599332 h 2924740"/>
                <a:gd name="connsiteX12" fmla="*/ 981201 w 1996592"/>
                <a:gd name="connsiteY12" fmla="*/ 1030851 h 2924740"/>
                <a:gd name="connsiteX13" fmla="*/ 1531632 w 1996592"/>
                <a:gd name="connsiteY13" fmla="*/ 1339079 h 2924740"/>
                <a:gd name="connsiteX14" fmla="*/ 1996592 w 1996592"/>
                <a:gd name="connsiteY14" fmla="*/ 2048003 h 2924740"/>
                <a:gd name="connsiteX15" fmla="*/ 899150 w 1996592"/>
                <a:gd name="connsiteY15" fmla="*/ 2924741 h 2924740"/>
                <a:gd name="connsiteX16" fmla="*/ 167522 w 1996592"/>
                <a:gd name="connsiteY16" fmla="*/ 2770627 h 2924740"/>
                <a:gd name="connsiteX17" fmla="*/ 0 w 1996592"/>
                <a:gd name="connsiteY17" fmla="*/ 2010331 h 2924740"/>
                <a:gd name="connsiteX18" fmla="*/ 211966 w 1996592"/>
                <a:gd name="connsiteY18" fmla="*/ 1941836 h 2924740"/>
                <a:gd name="connsiteX19" fmla="*/ 588037 w 1996592"/>
                <a:gd name="connsiteY19" fmla="*/ 2554867 h 29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592" h="2924740">
                  <a:moveTo>
                    <a:pt x="588037" y="2554867"/>
                  </a:moveTo>
                  <a:cubicBezTo>
                    <a:pt x="704277" y="2640486"/>
                    <a:pt x="882056" y="2681583"/>
                    <a:pt x="1005134" y="2681583"/>
                  </a:cubicBezTo>
                  <a:cubicBezTo>
                    <a:pt x="1193169" y="2681583"/>
                    <a:pt x="1408554" y="2582265"/>
                    <a:pt x="1408554" y="2328833"/>
                  </a:cubicBezTo>
                  <a:cubicBezTo>
                    <a:pt x="1408554" y="2119923"/>
                    <a:pt x="1319665" y="2000057"/>
                    <a:pt x="858124" y="1732926"/>
                  </a:cubicBezTo>
                  <a:cubicBezTo>
                    <a:pt x="509404" y="1537715"/>
                    <a:pt x="136753" y="1328805"/>
                    <a:pt x="136753" y="821941"/>
                  </a:cubicBezTo>
                  <a:cubicBezTo>
                    <a:pt x="136753" y="287679"/>
                    <a:pt x="581200" y="0"/>
                    <a:pt x="1107698" y="0"/>
                  </a:cubicBezTo>
                  <a:cubicBezTo>
                    <a:pt x="1473512" y="0"/>
                    <a:pt x="1658129" y="65070"/>
                    <a:pt x="1907703" y="85619"/>
                  </a:cubicBezTo>
                  <a:cubicBezTo>
                    <a:pt x="1870095" y="253432"/>
                    <a:pt x="1846164" y="517138"/>
                    <a:pt x="1832488" y="784269"/>
                  </a:cubicBezTo>
                  <a:cubicBezTo>
                    <a:pt x="1805138" y="811667"/>
                    <a:pt x="1647872" y="811667"/>
                    <a:pt x="1623941" y="787694"/>
                  </a:cubicBezTo>
                  <a:cubicBezTo>
                    <a:pt x="1579495" y="523987"/>
                    <a:pt x="1514538" y="393847"/>
                    <a:pt x="1422229" y="318502"/>
                  </a:cubicBezTo>
                  <a:cubicBezTo>
                    <a:pt x="1333341" y="246582"/>
                    <a:pt x="1213682" y="215760"/>
                    <a:pt x="1073510" y="215760"/>
                  </a:cubicBezTo>
                  <a:cubicBezTo>
                    <a:pt x="830773" y="215760"/>
                    <a:pt x="683765" y="404121"/>
                    <a:pt x="683765" y="599332"/>
                  </a:cubicBezTo>
                  <a:cubicBezTo>
                    <a:pt x="683765" y="808242"/>
                    <a:pt x="786329" y="910985"/>
                    <a:pt x="981201" y="1030851"/>
                  </a:cubicBezTo>
                  <a:cubicBezTo>
                    <a:pt x="1179494" y="1143868"/>
                    <a:pt x="1336759" y="1226062"/>
                    <a:pt x="1531632" y="1339079"/>
                  </a:cubicBezTo>
                  <a:cubicBezTo>
                    <a:pt x="1842745" y="1520591"/>
                    <a:pt x="1996592" y="1708953"/>
                    <a:pt x="1996592" y="2048003"/>
                  </a:cubicBezTo>
                  <a:cubicBezTo>
                    <a:pt x="1996592" y="2510345"/>
                    <a:pt x="1617103" y="2924741"/>
                    <a:pt x="899150" y="2924741"/>
                  </a:cubicBezTo>
                  <a:cubicBezTo>
                    <a:pt x="574362" y="2924741"/>
                    <a:pt x="297437" y="2835697"/>
                    <a:pt x="167522" y="2770627"/>
                  </a:cubicBezTo>
                  <a:cubicBezTo>
                    <a:pt x="116240" y="2705556"/>
                    <a:pt x="3418" y="2181569"/>
                    <a:pt x="0" y="2010331"/>
                  </a:cubicBezTo>
                  <a:cubicBezTo>
                    <a:pt x="17094" y="1972659"/>
                    <a:pt x="177778" y="1928137"/>
                    <a:pt x="211966" y="1941836"/>
                  </a:cubicBezTo>
                  <a:cubicBezTo>
                    <a:pt x="307694" y="2226091"/>
                    <a:pt x="427353" y="2428151"/>
                    <a:pt x="588037" y="255486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A931BF6F-2A9D-814C-9FC5-E069B4833FA6}"/>
                </a:ext>
              </a:extLst>
            </p:cNvPr>
            <p:cNvSpPr/>
            <p:nvPr/>
          </p:nvSpPr>
          <p:spPr>
            <a:xfrm>
              <a:off x="16378705" y="3498688"/>
              <a:ext cx="2640473" cy="2808296"/>
            </a:xfrm>
            <a:custGeom>
              <a:avLst/>
              <a:gdLst>
                <a:gd name="connsiteX0" fmla="*/ 83187 w 2640466"/>
                <a:gd name="connsiteY0" fmla="*/ 0 h 2808298"/>
                <a:gd name="connsiteX1" fmla="*/ 725926 w 2640466"/>
                <a:gd name="connsiteY1" fmla="*/ 13699 h 2808298"/>
                <a:gd name="connsiteX2" fmla="*/ 1536186 w 2640466"/>
                <a:gd name="connsiteY2" fmla="*/ 3425 h 2808298"/>
                <a:gd name="connsiteX3" fmla="*/ 2438755 w 2640466"/>
                <a:gd name="connsiteY3" fmla="*/ 626730 h 2808298"/>
                <a:gd name="connsiteX4" fmla="*/ 1990890 w 2640466"/>
                <a:gd name="connsiteY4" fmla="*/ 1188390 h 2808298"/>
                <a:gd name="connsiteX5" fmla="*/ 1990890 w 2640466"/>
                <a:gd name="connsiteY5" fmla="*/ 1215788 h 2808298"/>
                <a:gd name="connsiteX6" fmla="*/ 2640467 w 2640466"/>
                <a:gd name="connsiteY6" fmla="*/ 1890465 h 2808298"/>
                <a:gd name="connsiteX7" fmla="*/ 2059267 w 2640466"/>
                <a:gd name="connsiteY7" fmla="*/ 2678158 h 2808298"/>
                <a:gd name="connsiteX8" fmla="*/ 1272937 w 2640466"/>
                <a:gd name="connsiteY8" fmla="*/ 2808299 h 2808298"/>
                <a:gd name="connsiteX9" fmla="*/ 25067 w 2640466"/>
                <a:gd name="connsiteY9" fmla="*/ 2784326 h 2808298"/>
                <a:gd name="connsiteX10" fmla="*/ 21648 w 2640466"/>
                <a:gd name="connsiteY10" fmla="*/ 2582265 h 2808298"/>
                <a:gd name="connsiteX11" fmla="*/ 346436 w 2640466"/>
                <a:gd name="connsiteY11" fmla="*/ 2524044 h 2808298"/>
                <a:gd name="connsiteX12" fmla="*/ 469514 w 2640466"/>
                <a:gd name="connsiteY12" fmla="*/ 2308285 h 2808298"/>
                <a:gd name="connsiteX13" fmla="*/ 479770 w 2640466"/>
                <a:gd name="connsiteY13" fmla="*/ 1366477 h 2808298"/>
                <a:gd name="connsiteX14" fmla="*/ 469514 w 2640466"/>
                <a:gd name="connsiteY14" fmla="*/ 448643 h 2808298"/>
                <a:gd name="connsiteX15" fmla="*/ 343017 w 2640466"/>
                <a:gd name="connsiteY15" fmla="*/ 253432 h 2808298"/>
                <a:gd name="connsiteX16" fmla="*/ 79767 w 2640466"/>
                <a:gd name="connsiteY16" fmla="*/ 208910 h 2808298"/>
                <a:gd name="connsiteX17" fmla="*/ 83187 w 2640466"/>
                <a:gd name="connsiteY17" fmla="*/ 0 h 2808298"/>
                <a:gd name="connsiteX18" fmla="*/ 1990890 w 2640466"/>
                <a:gd name="connsiteY18" fmla="*/ 2003481 h 2808298"/>
                <a:gd name="connsiteX19" fmla="*/ 1269518 w 2640466"/>
                <a:gd name="connsiteY19" fmla="*/ 1407574 h 2808298"/>
                <a:gd name="connsiteX20" fmla="*/ 1101996 w 2640466"/>
                <a:gd name="connsiteY20" fmla="*/ 1410999 h 2808298"/>
                <a:gd name="connsiteX21" fmla="*/ 1078064 w 2640466"/>
                <a:gd name="connsiteY21" fmla="*/ 1438397 h 2808298"/>
                <a:gd name="connsiteX22" fmla="*/ 1088320 w 2640466"/>
                <a:gd name="connsiteY22" fmla="*/ 2325409 h 2808298"/>
                <a:gd name="connsiteX23" fmla="*/ 1184048 w 2640466"/>
                <a:gd name="connsiteY23" fmla="*/ 2496646 h 2808298"/>
                <a:gd name="connsiteX24" fmla="*/ 1491742 w 2640466"/>
                <a:gd name="connsiteY24" fmla="*/ 2578840 h 2808298"/>
                <a:gd name="connsiteX25" fmla="*/ 1990890 w 2640466"/>
                <a:gd name="connsiteY25" fmla="*/ 2003481 h 2808298"/>
                <a:gd name="connsiteX26" fmla="*/ 1122508 w 2640466"/>
                <a:gd name="connsiteY26" fmla="*/ 250007 h 2808298"/>
                <a:gd name="connsiteX27" fmla="*/ 1084902 w 2640466"/>
                <a:gd name="connsiteY27" fmla="*/ 315077 h 2808298"/>
                <a:gd name="connsiteX28" fmla="*/ 1074645 w 2640466"/>
                <a:gd name="connsiteY28" fmla="*/ 1137019 h 2808298"/>
                <a:gd name="connsiteX29" fmla="*/ 1101996 w 2640466"/>
                <a:gd name="connsiteY29" fmla="*/ 1164417 h 2808298"/>
                <a:gd name="connsiteX30" fmla="*/ 1331057 w 2640466"/>
                <a:gd name="connsiteY30" fmla="*/ 1167842 h 2808298"/>
                <a:gd name="connsiteX31" fmla="*/ 1679777 w 2640466"/>
                <a:gd name="connsiteY31" fmla="*/ 1126744 h 2808298"/>
                <a:gd name="connsiteX32" fmla="*/ 1850718 w 2640466"/>
                <a:gd name="connsiteY32" fmla="*/ 763720 h 2808298"/>
                <a:gd name="connsiteX33" fmla="*/ 1249005 w 2640466"/>
                <a:gd name="connsiteY33" fmla="*/ 232883 h 2808298"/>
                <a:gd name="connsiteX34" fmla="*/ 1122508 w 2640466"/>
                <a:gd name="connsiteY34" fmla="*/ 250007 h 280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640466" h="2808298">
                  <a:moveTo>
                    <a:pt x="83187" y="0"/>
                  </a:moveTo>
                  <a:cubicBezTo>
                    <a:pt x="144726" y="0"/>
                    <a:pt x="339598" y="13699"/>
                    <a:pt x="725926" y="13699"/>
                  </a:cubicBezTo>
                  <a:cubicBezTo>
                    <a:pt x="1067808" y="13699"/>
                    <a:pt x="1361826" y="3425"/>
                    <a:pt x="1536186" y="3425"/>
                  </a:cubicBezTo>
                  <a:cubicBezTo>
                    <a:pt x="2001146" y="3425"/>
                    <a:pt x="2438755" y="116442"/>
                    <a:pt x="2438755" y="626730"/>
                  </a:cubicBezTo>
                  <a:cubicBezTo>
                    <a:pt x="2438755" y="883587"/>
                    <a:pt x="2250720" y="1095921"/>
                    <a:pt x="1990890" y="1188390"/>
                  </a:cubicBezTo>
                  <a:cubicBezTo>
                    <a:pt x="1980633" y="1191815"/>
                    <a:pt x="1980633" y="1212363"/>
                    <a:pt x="1990890" y="1215788"/>
                  </a:cubicBezTo>
                  <a:cubicBezTo>
                    <a:pt x="2343029" y="1311681"/>
                    <a:pt x="2640467" y="1493193"/>
                    <a:pt x="2640467" y="1890465"/>
                  </a:cubicBezTo>
                  <a:cubicBezTo>
                    <a:pt x="2640467" y="2260338"/>
                    <a:pt x="2431918" y="2513770"/>
                    <a:pt x="2059267" y="2678158"/>
                  </a:cubicBezTo>
                  <a:cubicBezTo>
                    <a:pt x="1850718" y="2767202"/>
                    <a:pt x="1543024" y="2808299"/>
                    <a:pt x="1272937" y="2808299"/>
                  </a:cubicBezTo>
                  <a:cubicBezTo>
                    <a:pt x="1071226" y="2808299"/>
                    <a:pt x="332761" y="2784326"/>
                    <a:pt x="25067" y="2784326"/>
                  </a:cubicBezTo>
                  <a:cubicBezTo>
                    <a:pt x="-2284" y="2756928"/>
                    <a:pt x="-12540" y="2602814"/>
                    <a:pt x="21648" y="2582265"/>
                  </a:cubicBezTo>
                  <a:cubicBezTo>
                    <a:pt x="151563" y="2565141"/>
                    <a:pt x="271222" y="2551442"/>
                    <a:pt x="346436" y="2524044"/>
                  </a:cubicBezTo>
                  <a:cubicBezTo>
                    <a:pt x="428488" y="2496646"/>
                    <a:pt x="455838" y="2448700"/>
                    <a:pt x="469514" y="2308285"/>
                  </a:cubicBezTo>
                  <a:cubicBezTo>
                    <a:pt x="479770" y="2184994"/>
                    <a:pt x="479770" y="1702103"/>
                    <a:pt x="479770" y="1366477"/>
                  </a:cubicBezTo>
                  <a:cubicBezTo>
                    <a:pt x="479770" y="887011"/>
                    <a:pt x="479770" y="674677"/>
                    <a:pt x="469514" y="448643"/>
                  </a:cubicBezTo>
                  <a:cubicBezTo>
                    <a:pt x="466095" y="335626"/>
                    <a:pt x="438744" y="280830"/>
                    <a:pt x="343017" y="253432"/>
                  </a:cubicBezTo>
                  <a:cubicBezTo>
                    <a:pt x="260966" y="229459"/>
                    <a:pt x="148144" y="212335"/>
                    <a:pt x="79767" y="208910"/>
                  </a:cubicBezTo>
                  <a:cubicBezTo>
                    <a:pt x="55836" y="178087"/>
                    <a:pt x="59255" y="20548"/>
                    <a:pt x="83187" y="0"/>
                  </a:cubicBezTo>
                  <a:close/>
                  <a:moveTo>
                    <a:pt x="1990890" y="2003481"/>
                  </a:moveTo>
                  <a:cubicBezTo>
                    <a:pt x="1990890" y="1623334"/>
                    <a:pt x="1741316" y="1407574"/>
                    <a:pt x="1269518" y="1407574"/>
                  </a:cubicBezTo>
                  <a:cubicBezTo>
                    <a:pt x="1255843" y="1407574"/>
                    <a:pt x="1146441" y="1407574"/>
                    <a:pt x="1101996" y="1410999"/>
                  </a:cubicBezTo>
                  <a:cubicBezTo>
                    <a:pt x="1091739" y="1410999"/>
                    <a:pt x="1078064" y="1421273"/>
                    <a:pt x="1078064" y="1438397"/>
                  </a:cubicBezTo>
                  <a:cubicBezTo>
                    <a:pt x="1078064" y="1753475"/>
                    <a:pt x="1074645" y="2147321"/>
                    <a:pt x="1088320" y="2325409"/>
                  </a:cubicBezTo>
                  <a:cubicBezTo>
                    <a:pt x="1091739" y="2390479"/>
                    <a:pt x="1139603" y="2465823"/>
                    <a:pt x="1184048" y="2496646"/>
                  </a:cubicBezTo>
                  <a:cubicBezTo>
                    <a:pt x="1255843" y="2561717"/>
                    <a:pt x="1413108" y="2578840"/>
                    <a:pt x="1491742" y="2578840"/>
                  </a:cubicBezTo>
                  <a:cubicBezTo>
                    <a:pt x="1768667" y="2575416"/>
                    <a:pt x="1990890" y="2390479"/>
                    <a:pt x="1990890" y="2003481"/>
                  </a:cubicBezTo>
                  <a:close/>
                  <a:moveTo>
                    <a:pt x="1122508" y="250007"/>
                  </a:moveTo>
                  <a:cubicBezTo>
                    <a:pt x="1108833" y="253432"/>
                    <a:pt x="1091739" y="291104"/>
                    <a:pt x="1084902" y="315077"/>
                  </a:cubicBezTo>
                  <a:cubicBezTo>
                    <a:pt x="1074645" y="397272"/>
                    <a:pt x="1074645" y="863038"/>
                    <a:pt x="1074645" y="1137019"/>
                  </a:cubicBezTo>
                  <a:cubicBezTo>
                    <a:pt x="1074645" y="1150718"/>
                    <a:pt x="1091739" y="1164417"/>
                    <a:pt x="1101996" y="1164417"/>
                  </a:cubicBezTo>
                  <a:cubicBezTo>
                    <a:pt x="1146441" y="1167842"/>
                    <a:pt x="1225073" y="1167842"/>
                    <a:pt x="1331057" y="1167842"/>
                  </a:cubicBezTo>
                  <a:cubicBezTo>
                    <a:pt x="1501998" y="1167842"/>
                    <a:pt x="1628495" y="1154142"/>
                    <a:pt x="1679777" y="1126744"/>
                  </a:cubicBezTo>
                  <a:cubicBezTo>
                    <a:pt x="1789179" y="1061674"/>
                    <a:pt x="1850718" y="928109"/>
                    <a:pt x="1850718" y="763720"/>
                  </a:cubicBezTo>
                  <a:cubicBezTo>
                    <a:pt x="1850718" y="434944"/>
                    <a:pt x="1652426" y="232883"/>
                    <a:pt x="1249005" y="232883"/>
                  </a:cubicBezTo>
                  <a:cubicBezTo>
                    <a:pt x="1225073" y="236308"/>
                    <a:pt x="1173791" y="239733"/>
                    <a:pt x="1122508" y="25000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853D6E94-E89E-5B46-9637-094BCCB61113}"/>
                </a:ext>
              </a:extLst>
            </p:cNvPr>
            <p:cNvSpPr/>
            <p:nvPr/>
          </p:nvSpPr>
          <p:spPr>
            <a:xfrm>
              <a:off x="20745683" y="3433612"/>
              <a:ext cx="1996587" cy="2924740"/>
            </a:xfrm>
            <a:custGeom>
              <a:avLst/>
              <a:gdLst>
                <a:gd name="connsiteX0" fmla="*/ 588038 w 1996591"/>
                <a:gd name="connsiteY0" fmla="*/ 2554867 h 2924740"/>
                <a:gd name="connsiteX1" fmla="*/ 1005133 w 1996591"/>
                <a:gd name="connsiteY1" fmla="*/ 2681583 h 2924740"/>
                <a:gd name="connsiteX2" fmla="*/ 1408555 w 1996591"/>
                <a:gd name="connsiteY2" fmla="*/ 2328833 h 2924740"/>
                <a:gd name="connsiteX3" fmla="*/ 858124 w 1996591"/>
                <a:gd name="connsiteY3" fmla="*/ 1732926 h 2924740"/>
                <a:gd name="connsiteX4" fmla="*/ 136753 w 1996591"/>
                <a:gd name="connsiteY4" fmla="*/ 821941 h 2924740"/>
                <a:gd name="connsiteX5" fmla="*/ 1107697 w 1996591"/>
                <a:gd name="connsiteY5" fmla="*/ 0 h 2924740"/>
                <a:gd name="connsiteX6" fmla="*/ 1907703 w 1996591"/>
                <a:gd name="connsiteY6" fmla="*/ 85619 h 2924740"/>
                <a:gd name="connsiteX7" fmla="*/ 1832488 w 1996591"/>
                <a:gd name="connsiteY7" fmla="*/ 784269 h 2924740"/>
                <a:gd name="connsiteX8" fmla="*/ 1623941 w 1996591"/>
                <a:gd name="connsiteY8" fmla="*/ 787694 h 2924740"/>
                <a:gd name="connsiteX9" fmla="*/ 1422229 w 1996591"/>
                <a:gd name="connsiteY9" fmla="*/ 318502 h 2924740"/>
                <a:gd name="connsiteX10" fmla="*/ 1073509 w 1996591"/>
                <a:gd name="connsiteY10" fmla="*/ 215760 h 2924740"/>
                <a:gd name="connsiteX11" fmla="*/ 683765 w 1996591"/>
                <a:gd name="connsiteY11" fmla="*/ 599332 h 2924740"/>
                <a:gd name="connsiteX12" fmla="*/ 981203 w 1996591"/>
                <a:gd name="connsiteY12" fmla="*/ 1030851 h 2924740"/>
                <a:gd name="connsiteX13" fmla="*/ 1531632 w 1996591"/>
                <a:gd name="connsiteY13" fmla="*/ 1339079 h 2924740"/>
                <a:gd name="connsiteX14" fmla="*/ 1996591 w 1996591"/>
                <a:gd name="connsiteY14" fmla="*/ 2048003 h 2924740"/>
                <a:gd name="connsiteX15" fmla="*/ 899150 w 1996591"/>
                <a:gd name="connsiteY15" fmla="*/ 2924741 h 2924740"/>
                <a:gd name="connsiteX16" fmla="*/ 167521 w 1996591"/>
                <a:gd name="connsiteY16" fmla="*/ 2770627 h 2924740"/>
                <a:gd name="connsiteX17" fmla="*/ 0 w 1996591"/>
                <a:gd name="connsiteY17" fmla="*/ 2010331 h 2924740"/>
                <a:gd name="connsiteX18" fmla="*/ 211967 w 1996591"/>
                <a:gd name="connsiteY18" fmla="*/ 1941836 h 2924740"/>
                <a:gd name="connsiteX19" fmla="*/ 588038 w 1996591"/>
                <a:gd name="connsiteY19" fmla="*/ 2554867 h 29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591" h="2924740">
                  <a:moveTo>
                    <a:pt x="588038" y="2554867"/>
                  </a:moveTo>
                  <a:cubicBezTo>
                    <a:pt x="704277" y="2640486"/>
                    <a:pt x="882056" y="2681583"/>
                    <a:pt x="1005133" y="2681583"/>
                  </a:cubicBezTo>
                  <a:cubicBezTo>
                    <a:pt x="1196588" y="2681583"/>
                    <a:pt x="1408555" y="2582265"/>
                    <a:pt x="1408555" y="2328833"/>
                  </a:cubicBezTo>
                  <a:cubicBezTo>
                    <a:pt x="1408555" y="2119923"/>
                    <a:pt x="1319665" y="2000057"/>
                    <a:pt x="858124" y="1732926"/>
                  </a:cubicBezTo>
                  <a:cubicBezTo>
                    <a:pt x="509403" y="1537715"/>
                    <a:pt x="136753" y="1328805"/>
                    <a:pt x="136753" y="821941"/>
                  </a:cubicBezTo>
                  <a:cubicBezTo>
                    <a:pt x="136753" y="287679"/>
                    <a:pt x="581200" y="0"/>
                    <a:pt x="1107697" y="0"/>
                  </a:cubicBezTo>
                  <a:cubicBezTo>
                    <a:pt x="1473512" y="0"/>
                    <a:pt x="1658129" y="65070"/>
                    <a:pt x="1907703" y="85619"/>
                  </a:cubicBezTo>
                  <a:cubicBezTo>
                    <a:pt x="1870096" y="253432"/>
                    <a:pt x="1842744" y="517138"/>
                    <a:pt x="1832488" y="784269"/>
                  </a:cubicBezTo>
                  <a:cubicBezTo>
                    <a:pt x="1805138" y="811667"/>
                    <a:pt x="1647873" y="811667"/>
                    <a:pt x="1623941" y="787694"/>
                  </a:cubicBezTo>
                  <a:cubicBezTo>
                    <a:pt x="1579496" y="523987"/>
                    <a:pt x="1514538" y="393847"/>
                    <a:pt x="1422229" y="318502"/>
                  </a:cubicBezTo>
                  <a:cubicBezTo>
                    <a:pt x="1333341" y="246582"/>
                    <a:pt x="1213682" y="215760"/>
                    <a:pt x="1073509" y="215760"/>
                  </a:cubicBezTo>
                  <a:cubicBezTo>
                    <a:pt x="830773" y="215760"/>
                    <a:pt x="683765" y="404121"/>
                    <a:pt x="683765" y="599332"/>
                  </a:cubicBezTo>
                  <a:cubicBezTo>
                    <a:pt x="683765" y="808242"/>
                    <a:pt x="786329" y="910985"/>
                    <a:pt x="981203" y="1030851"/>
                  </a:cubicBezTo>
                  <a:cubicBezTo>
                    <a:pt x="1179494" y="1143868"/>
                    <a:pt x="1336759" y="1226062"/>
                    <a:pt x="1531632" y="1339079"/>
                  </a:cubicBezTo>
                  <a:cubicBezTo>
                    <a:pt x="1842744" y="1520591"/>
                    <a:pt x="1996591" y="1708953"/>
                    <a:pt x="1996591" y="2048003"/>
                  </a:cubicBezTo>
                  <a:cubicBezTo>
                    <a:pt x="1996591" y="2510345"/>
                    <a:pt x="1617103" y="2924741"/>
                    <a:pt x="899150" y="2924741"/>
                  </a:cubicBezTo>
                  <a:cubicBezTo>
                    <a:pt x="574362" y="2924741"/>
                    <a:pt x="297438" y="2835697"/>
                    <a:pt x="167521" y="2770627"/>
                  </a:cubicBezTo>
                  <a:cubicBezTo>
                    <a:pt x="116239" y="2705556"/>
                    <a:pt x="3418" y="2181569"/>
                    <a:pt x="0" y="2010331"/>
                  </a:cubicBezTo>
                  <a:cubicBezTo>
                    <a:pt x="17094" y="1972659"/>
                    <a:pt x="177779" y="1928137"/>
                    <a:pt x="211967" y="1941836"/>
                  </a:cubicBezTo>
                  <a:cubicBezTo>
                    <a:pt x="307694" y="2226091"/>
                    <a:pt x="423933" y="2428151"/>
                    <a:pt x="588038" y="255486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7A589429-A1AF-004B-B2D6-830BA0D37AD6}"/>
              </a:ext>
            </a:extLst>
          </p:cNvPr>
          <p:cNvGrpSpPr/>
          <p:nvPr userDrawn="1"/>
        </p:nvGrpSpPr>
        <p:grpSpPr>
          <a:xfrm>
            <a:off x="8312338" y="3046281"/>
            <a:ext cx="3879660" cy="3811720"/>
            <a:chOff x="8312338" y="3046281"/>
            <a:chExt cx="3879660" cy="3811720"/>
          </a:xfrm>
        </p:grpSpPr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FAB0CFB5-7B28-A547-9873-724E922701E8}"/>
                </a:ext>
              </a:extLst>
            </p:cNvPr>
            <p:cNvSpPr/>
            <p:nvPr/>
          </p:nvSpPr>
          <p:spPr>
            <a:xfrm>
              <a:off x="9494872" y="4224080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317F27F7-E63D-6148-849A-E6ED639EE234}"/>
                </a:ext>
              </a:extLst>
            </p:cNvPr>
            <p:cNvSpPr/>
            <p:nvPr/>
          </p:nvSpPr>
          <p:spPr>
            <a:xfrm>
              <a:off x="10877320" y="5541041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68A4B448-E5A4-A849-9533-BBF2A5A95779}"/>
                </a:ext>
              </a:extLst>
            </p:cNvPr>
            <p:cNvSpPr/>
            <p:nvPr/>
          </p:nvSpPr>
          <p:spPr>
            <a:xfrm>
              <a:off x="11141610" y="3046281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7 h 450206"/>
                <a:gd name="connsiteX3" fmla="*/ 0 w 449426"/>
                <a:gd name="connsiteY3" fmla="*/ 450207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7"/>
                  </a:lnTo>
                  <a:lnTo>
                    <a:pt x="0" y="450207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765B724E-7DCC-D34B-81BE-12512A31D817}"/>
                </a:ext>
              </a:extLst>
            </p:cNvPr>
            <p:cNvSpPr/>
            <p:nvPr/>
          </p:nvSpPr>
          <p:spPr>
            <a:xfrm>
              <a:off x="8312338" y="5887253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6 h 450206"/>
                <a:gd name="connsiteX3" fmla="*/ 0 w 449426"/>
                <a:gd name="connsiteY3" fmla="*/ 450206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6"/>
                  </a:lnTo>
                  <a:lnTo>
                    <a:pt x="0" y="4502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9DB80A66-A424-7C4E-84A9-8E4A6DEC2F3D}"/>
                </a:ext>
              </a:extLst>
            </p:cNvPr>
            <p:cNvSpPr/>
            <p:nvPr/>
          </p:nvSpPr>
          <p:spPr>
            <a:xfrm>
              <a:off x="8312338" y="3080224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E2E51638-BBA2-FB4C-856C-5FC3147D06BE}"/>
                </a:ext>
              </a:extLst>
            </p:cNvPr>
            <p:cNvSpPr/>
            <p:nvPr/>
          </p:nvSpPr>
          <p:spPr>
            <a:xfrm>
              <a:off x="10175930" y="3182050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17F39F30-9AF6-1449-93B0-EC8BA6A71583}"/>
                </a:ext>
              </a:extLst>
            </p:cNvPr>
            <p:cNvSpPr/>
            <p:nvPr/>
          </p:nvSpPr>
          <p:spPr>
            <a:xfrm>
              <a:off x="11039959" y="4526166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4ECF33D-C9D3-2340-B48B-4538B6D4AD5B}"/>
                </a:ext>
              </a:extLst>
            </p:cNvPr>
            <p:cNvSpPr/>
            <p:nvPr/>
          </p:nvSpPr>
          <p:spPr>
            <a:xfrm>
              <a:off x="9555861" y="5758273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FA971CDB-E6EC-7048-B5DF-732D1B23F661}"/>
                </a:ext>
              </a:extLst>
            </p:cNvPr>
            <p:cNvSpPr/>
            <p:nvPr/>
          </p:nvSpPr>
          <p:spPr>
            <a:xfrm>
              <a:off x="8613900" y="4597446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804EC4F9-B287-4A42-A848-BDA400528D20}"/>
                </a:ext>
              </a:extLst>
            </p:cNvPr>
            <p:cNvSpPr/>
            <p:nvPr/>
          </p:nvSpPr>
          <p:spPr>
            <a:xfrm>
              <a:off x="9274630" y="3507897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203157" y="1813674"/>
            <a:ext cx="10437979" cy="1846659"/>
          </a:xfrm>
        </p:spPr>
        <p:txBody>
          <a:bodyPr vert="horz" anchor="t" anchorCtr="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ru-RU"/>
              <a:t>Название</a:t>
            </a:r>
            <a:br>
              <a:rPr lang="en-US"/>
            </a:br>
            <a:r>
              <a:rPr lang="ru-RU"/>
              <a:t>в две строки</a:t>
            </a:r>
            <a:endParaRPr lang="en-RU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73F2CC7-906E-0A43-8BC5-CAEFB87F11CB}"/>
              </a:ext>
            </a:extLst>
          </p:cNvPr>
          <p:cNvCxnSpPr/>
          <p:nvPr userDrawn="1"/>
        </p:nvCxnSpPr>
        <p:spPr>
          <a:xfrm>
            <a:off x="1203157" y="1490941"/>
            <a:ext cx="1491916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2F7B8B5-F108-864E-9E02-84965A67A78E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203156" y="5430462"/>
            <a:ext cx="10437979" cy="307777"/>
          </a:xfrm>
        </p:spPr>
        <p:txBody>
          <a:bodyPr anchor="b" anchorCtr="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Подзаголовок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F003958-C4F0-AA4F-B513-5811C1FBCBE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203145" y="5909682"/>
            <a:ext cx="2448000" cy="246221"/>
          </a:xfrm>
          <a:noFill/>
        </p:spPr>
        <p:txBody>
          <a:bodyPr wrap="none" anchor="b" anchorCtr="0">
            <a:noAutofit/>
          </a:bodyPr>
          <a:lstStyle>
            <a:lvl1pPr>
              <a:defRPr sz="1800">
                <a:solidFill>
                  <a:srgbClr val="6C8DBD"/>
                </a:solidFill>
              </a:defRPr>
            </a:lvl1pPr>
          </a:lstStyle>
          <a:p>
            <a:pPr lvl="0"/>
            <a:r>
              <a:rPr lang="ru-RU"/>
              <a:t>Дата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67331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3135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3EAC3D44-3270-6F41-A7FA-7D887C09EA9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00388" y="548311"/>
            <a:ext cx="1471612" cy="7477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11199C73-5CB8-3043-9692-EE578ED2C9D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Background pic</a:t>
            </a:r>
          </a:p>
        </p:txBody>
      </p:sp>
    </p:spTree>
    <p:extLst>
      <p:ext uri="{BB962C8B-B14F-4D97-AF65-F5344CB8AC3E}">
        <p14:creationId xmlns:p14="http://schemas.microsoft.com/office/powerpoint/2010/main" val="36022972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71363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369332"/>
          </a:xfrm>
        </p:spPr>
        <p:txBody>
          <a:bodyPr vert="horz"/>
          <a:lstStyle>
            <a:lvl1pPr>
              <a:defRPr sz="2400"/>
            </a:lvl1pPr>
          </a:lstStyle>
          <a:p>
            <a:r>
              <a:rPr lang="ru-RU"/>
              <a:t>Заголовок</a:t>
            </a:r>
            <a:endParaRPr lang="en-RU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770D9B08-BF1F-D747-A699-AA29CB826EA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1456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50447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3EAC3D44-3270-6F41-A7FA-7D887C09EA9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00388" y="548311"/>
            <a:ext cx="1471612" cy="7477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11199C73-5CB8-3043-9692-EE578ED2C9D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Background pic</a:t>
            </a:r>
          </a:p>
        </p:txBody>
      </p:sp>
    </p:spTree>
    <p:extLst>
      <p:ext uri="{BB962C8B-B14F-4D97-AF65-F5344CB8AC3E}">
        <p14:creationId xmlns:p14="http://schemas.microsoft.com/office/powerpoint/2010/main" val="27085356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_2 (With sour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65103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en-R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EE3AC01-CE52-574B-8B6C-03931E756D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6366735"/>
            <a:ext cx="9693513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Trebuchet MS" panose="020B0703020202090204" pitchFamily="34" charset="0"/>
                <a:ea typeface="ＭＳ Ｐゴシック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ru-RU"/>
              <a:t>Источник</a:t>
            </a:r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770D9B08-BF1F-D747-A699-AA29CB826EA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3178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4323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0847" y="3121224"/>
            <a:ext cx="3694307" cy="615553"/>
          </a:xfrm>
        </p:spPr>
        <p:txBody>
          <a:bodyPr vert="horz" anchor="b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Заголовок</a:t>
            </a:r>
            <a:endParaRPr lang="en-RU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7A6154E-D906-D04B-9DF4-EEEF72614A4D}"/>
              </a:ext>
            </a:extLst>
          </p:cNvPr>
          <p:cNvGrpSpPr/>
          <p:nvPr userDrawn="1"/>
        </p:nvGrpSpPr>
        <p:grpSpPr>
          <a:xfrm>
            <a:off x="8312338" y="2978338"/>
            <a:ext cx="3879662" cy="3879662"/>
            <a:chOff x="7758019" y="2373607"/>
            <a:chExt cx="4125917" cy="4125917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CDA4508-FBF6-7B4F-A16E-0AC26D92015B}"/>
                </a:ext>
              </a:extLst>
            </p:cNvPr>
            <p:cNvSpPr/>
            <p:nvPr/>
          </p:nvSpPr>
          <p:spPr>
            <a:xfrm>
              <a:off x="10875215" y="2373607"/>
              <a:ext cx="1008720" cy="1008720"/>
            </a:xfrm>
            <a:custGeom>
              <a:avLst/>
              <a:gdLst>
                <a:gd name="connsiteX0" fmla="*/ 0 w 970325"/>
                <a:gd name="connsiteY0" fmla="*/ 0 h 970325"/>
                <a:gd name="connsiteX1" fmla="*/ 970325 w 970325"/>
                <a:gd name="connsiteY1" fmla="*/ 0 h 970325"/>
                <a:gd name="connsiteX2" fmla="*/ 970325 w 970325"/>
                <a:gd name="connsiteY2" fmla="*/ 970325 h 970325"/>
                <a:gd name="connsiteX3" fmla="*/ 0 w 970325"/>
                <a:gd name="connsiteY3" fmla="*/ 970325 h 97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325" h="970325">
                  <a:moveTo>
                    <a:pt x="0" y="0"/>
                  </a:moveTo>
                  <a:lnTo>
                    <a:pt x="970325" y="0"/>
                  </a:lnTo>
                  <a:lnTo>
                    <a:pt x="970325" y="970325"/>
                  </a:lnTo>
                  <a:lnTo>
                    <a:pt x="0" y="97032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6BE70485-2581-024F-A7F0-C6887C5EAA47}"/>
                </a:ext>
              </a:extLst>
            </p:cNvPr>
            <p:cNvSpPr/>
            <p:nvPr/>
          </p:nvSpPr>
          <p:spPr>
            <a:xfrm>
              <a:off x="7758019" y="5490803"/>
              <a:ext cx="1008720" cy="1008720"/>
            </a:xfrm>
            <a:custGeom>
              <a:avLst/>
              <a:gdLst>
                <a:gd name="connsiteX0" fmla="*/ 0 w 970325"/>
                <a:gd name="connsiteY0" fmla="*/ 0 h 970325"/>
                <a:gd name="connsiteX1" fmla="*/ 970325 w 970325"/>
                <a:gd name="connsiteY1" fmla="*/ 0 h 970325"/>
                <a:gd name="connsiteX2" fmla="*/ 970325 w 970325"/>
                <a:gd name="connsiteY2" fmla="*/ 970325 h 970325"/>
                <a:gd name="connsiteX3" fmla="*/ 0 w 970325"/>
                <a:gd name="connsiteY3" fmla="*/ 970325 h 97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325" h="970325">
                  <a:moveTo>
                    <a:pt x="0" y="0"/>
                  </a:moveTo>
                  <a:lnTo>
                    <a:pt x="970325" y="0"/>
                  </a:lnTo>
                  <a:lnTo>
                    <a:pt x="970325" y="970325"/>
                  </a:lnTo>
                  <a:lnTo>
                    <a:pt x="0" y="97032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17025CF4-7823-B849-9A42-07EEF4251D39}"/>
                </a:ext>
              </a:extLst>
            </p:cNvPr>
            <p:cNvSpPr/>
            <p:nvPr/>
          </p:nvSpPr>
          <p:spPr>
            <a:xfrm>
              <a:off x="8738562" y="2801604"/>
              <a:ext cx="588225" cy="588225"/>
            </a:xfrm>
            <a:custGeom>
              <a:avLst/>
              <a:gdLst>
                <a:gd name="connsiteX0" fmla="*/ 0 w 565835"/>
                <a:gd name="connsiteY0" fmla="*/ 0 h 565835"/>
                <a:gd name="connsiteX1" fmla="*/ 565836 w 565835"/>
                <a:gd name="connsiteY1" fmla="*/ 0 h 565835"/>
                <a:gd name="connsiteX2" fmla="*/ 565836 w 565835"/>
                <a:gd name="connsiteY2" fmla="*/ 565836 h 565835"/>
                <a:gd name="connsiteX3" fmla="*/ 0 w 565835"/>
                <a:gd name="connsiteY3" fmla="*/ 565836 h 565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5835" h="565835">
                  <a:moveTo>
                    <a:pt x="0" y="0"/>
                  </a:moveTo>
                  <a:lnTo>
                    <a:pt x="565836" y="0"/>
                  </a:lnTo>
                  <a:lnTo>
                    <a:pt x="565836" y="565836"/>
                  </a:lnTo>
                  <a:lnTo>
                    <a:pt x="0" y="56583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874D143E-7199-274E-A4B6-B07C8E902B59}"/>
                </a:ext>
              </a:extLst>
            </p:cNvPr>
            <p:cNvSpPr/>
            <p:nvPr/>
          </p:nvSpPr>
          <p:spPr>
            <a:xfrm>
              <a:off x="10699315" y="3898858"/>
              <a:ext cx="841489" cy="841489"/>
            </a:xfrm>
            <a:custGeom>
              <a:avLst/>
              <a:gdLst>
                <a:gd name="connsiteX0" fmla="*/ 0 w 809459"/>
                <a:gd name="connsiteY0" fmla="*/ 0 h 809459"/>
                <a:gd name="connsiteX1" fmla="*/ 809460 w 809459"/>
                <a:gd name="connsiteY1" fmla="*/ 0 h 809459"/>
                <a:gd name="connsiteX2" fmla="*/ 809460 w 809459"/>
                <a:gd name="connsiteY2" fmla="*/ 809460 h 809459"/>
                <a:gd name="connsiteX3" fmla="*/ 0 w 809459"/>
                <a:gd name="connsiteY3" fmla="*/ 809460 h 80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459" h="809459">
                  <a:moveTo>
                    <a:pt x="0" y="0"/>
                  </a:moveTo>
                  <a:lnTo>
                    <a:pt x="809460" y="0"/>
                  </a:lnTo>
                  <a:lnTo>
                    <a:pt x="809460" y="809460"/>
                  </a:lnTo>
                  <a:lnTo>
                    <a:pt x="0" y="809460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0D4BADA9-955C-D246-B4EF-080C5AF9DAD5}"/>
                </a:ext>
              </a:extLst>
            </p:cNvPr>
            <p:cNvSpPr/>
            <p:nvPr/>
          </p:nvSpPr>
          <p:spPr>
            <a:xfrm>
              <a:off x="9068355" y="5271553"/>
              <a:ext cx="841489" cy="841489"/>
            </a:xfrm>
            <a:custGeom>
              <a:avLst/>
              <a:gdLst>
                <a:gd name="connsiteX0" fmla="*/ 0 w 809459"/>
                <a:gd name="connsiteY0" fmla="*/ 0 h 809459"/>
                <a:gd name="connsiteX1" fmla="*/ 809460 w 809459"/>
                <a:gd name="connsiteY1" fmla="*/ 0 h 809459"/>
                <a:gd name="connsiteX2" fmla="*/ 809460 w 809459"/>
                <a:gd name="connsiteY2" fmla="*/ 809460 h 809459"/>
                <a:gd name="connsiteX3" fmla="*/ 0 w 809459"/>
                <a:gd name="connsiteY3" fmla="*/ 809460 h 80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459" h="809459">
                  <a:moveTo>
                    <a:pt x="0" y="0"/>
                  </a:moveTo>
                  <a:lnTo>
                    <a:pt x="809460" y="0"/>
                  </a:lnTo>
                  <a:lnTo>
                    <a:pt x="809460" y="809460"/>
                  </a:lnTo>
                  <a:lnTo>
                    <a:pt x="0" y="809460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025D8423-5F63-6F49-99C9-4DF90B8A1151}"/>
                </a:ext>
              </a:extLst>
            </p:cNvPr>
            <p:cNvSpPr/>
            <p:nvPr/>
          </p:nvSpPr>
          <p:spPr>
            <a:xfrm>
              <a:off x="8023787" y="3987392"/>
              <a:ext cx="624072" cy="624072"/>
            </a:xfrm>
            <a:custGeom>
              <a:avLst/>
              <a:gdLst>
                <a:gd name="connsiteX0" fmla="*/ 0 w 600318"/>
                <a:gd name="connsiteY0" fmla="*/ 0 h 600318"/>
                <a:gd name="connsiteX1" fmla="*/ 600319 w 600318"/>
                <a:gd name="connsiteY1" fmla="*/ 0 h 600318"/>
                <a:gd name="connsiteX2" fmla="*/ 600319 w 600318"/>
                <a:gd name="connsiteY2" fmla="*/ 600319 h 600318"/>
                <a:gd name="connsiteX3" fmla="*/ 0 w 600318"/>
                <a:gd name="connsiteY3" fmla="*/ 600319 h 600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318" h="600318">
                  <a:moveTo>
                    <a:pt x="0" y="0"/>
                  </a:moveTo>
                  <a:lnTo>
                    <a:pt x="600319" y="0"/>
                  </a:lnTo>
                  <a:lnTo>
                    <a:pt x="600319" y="600319"/>
                  </a:lnTo>
                  <a:lnTo>
                    <a:pt x="0" y="600319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6C56157B-050A-C845-94B7-4FF34DE05834}"/>
                </a:ext>
              </a:extLst>
            </p:cNvPr>
            <p:cNvSpPr/>
            <p:nvPr/>
          </p:nvSpPr>
          <p:spPr>
            <a:xfrm>
              <a:off x="8875947" y="3536053"/>
              <a:ext cx="1471064" cy="1471064"/>
            </a:xfrm>
            <a:custGeom>
              <a:avLst/>
              <a:gdLst>
                <a:gd name="connsiteX0" fmla="*/ 0 w 1415070"/>
                <a:gd name="connsiteY0" fmla="*/ 0 h 1415070"/>
                <a:gd name="connsiteX1" fmla="*/ 1415071 w 1415070"/>
                <a:gd name="connsiteY1" fmla="*/ 0 h 1415070"/>
                <a:gd name="connsiteX2" fmla="*/ 1415071 w 1415070"/>
                <a:gd name="connsiteY2" fmla="*/ 1415071 h 1415070"/>
                <a:gd name="connsiteX3" fmla="*/ 0 w 1415070"/>
                <a:gd name="connsiteY3" fmla="*/ 1415071 h 141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5070" h="1415070">
                  <a:moveTo>
                    <a:pt x="0" y="0"/>
                  </a:moveTo>
                  <a:lnTo>
                    <a:pt x="1415071" y="0"/>
                  </a:lnTo>
                  <a:lnTo>
                    <a:pt x="1415071" y="1415071"/>
                  </a:lnTo>
                  <a:lnTo>
                    <a:pt x="0" y="1415071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3F3461D8-4E1B-F346-ABF9-7869F6A279EC}"/>
                </a:ext>
              </a:extLst>
            </p:cNvPr>
            <p:cNvSpPr/>
            <p:nvPr/>
          </p:nvSpPr>
          <p:spPr>
            <a:xfrm>
              <a:off x="10476562" y="5092150"/>
              <a:ext cx="1407374" cy="1407374"/>
            </a:xfrm>
            <a:custGeom>
              <a:avLst/>
              <a:gdLst>
                <a:gd name="connsiteX0" fmla="*/ 0 w 1353804"/>
                <a:gd name="connsiteY0" fmla="*/ 0 h 1353804"/>
                <a:gd name="connsiteX1" fmla="*/ 1353804 w 1353804"/>
                <a:gd name="connsiteY1" fmla="*/ 0 h 1353804"/>
                <a:gd name="connsiteX2" fmla="*/ 1353804 w 1353804"/>
                <a:gd name="connsiteY2" fmla="*/ 1353804 h 1353804"/>
                <a:gd name="connsiteX3" fmla="*/ 0 w 1353804"/>
                <a:gd name="connsiteY3" fmla="*/ 1353804 h 1353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804" h="1353804">
                  <a:moveTo>
                    <a:pt x="0" y="0"/>
                  </a:moveTo>
                  <a:lnTo>
                    <a:pt x="1353804" y="0"/>
                  </a:lnTo>
                  <a:lnTo>
                    <a:pt x="1353804" y="1353804"/>
                  </a:lnTo>
                  <a:lnTo>
                    <a:pt x="0" y="1353804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BC7B5B3-EE82-1A4D-A243-37ECBAFABA2B}"/>
                </a:ext>
              </a:extLst>
            </p:cNvPr>
            <p:cNvSpPr/>
            <p:nvPr/>
          </p:nvSpPr>
          <p:spPr>
            <a:xfrm>
              <a:off x="7758019" y="2373607"/>
              <a:ext cx="765960" cy="765960"/>
            </a:xfrm>
            <a:custGeom>
              <a:avLst/>
              <a:gdLst>
                <a:gd name="connsiteX0" fmla="*/ 0 w 736805"/>
                <a:gd name="connsiteY0" fmla="*/ 0 h 736805"/>
                <a:gd name="connsiteX1" fmla="*/ 736806 w 736805"/>
                <a:gd name="connsiteY1" fmla="*/ 0 h 736805"/>
                <a:gd name="connsiteX2" fmla="*/ 736806 w 736805"/>
                <a:gd name="connsiteY2" fmla="*/ 736806 h 736805"/>
                <a:gd name="connsiteX3" fmla="*/ 0 w 736805"/>
                <a:gd name="connsiteY3" fmla="*/ 736806 h 73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6805" h="736805">
                  <a:moveTo>
                    <a:pt x="0" y="0"/>
                  </a:moveTo>
                  <a:lnTo>
                    <a:pt x="736806" y="0"/>
                  </a:lnTo>
                  <a:lnTo>
                    <a:pt x="736806" y="736806"/>
                  </a:lnTo>
                  <a:lnTo>
                    <a:pt x="0" y="7368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3C32989-2C0A-0C47-AC10-0F9572F4991B}"/>
                </a:ext>
              </a:extLst>
            </p:cNvPr>
            <p:cNvSpPr/>
            <p:nvPr/>
          </p:nvSpPr>
          <p:spPr>
            <a:xfrm>
              <a:off x="9747282" y="2494986"/>
              <a:ext cx="765960" cy="765960"/>
            </a:xfrm>
            <a:custGeom>
              <a:avLst/>
              <a:gdLst>
                <a:gd name="connsiteX0" fmla="*/ 0 w 736805"/>
                <a:gd name="connsiteY0" fmla="*/ 0 h 736805"/>
                <a:gd name="connsiteX1" fmla="*/ 736806 w 736805"/>
                <a:gd name="connsiteY1" fmla="*/ 0 h 736805"/>
                <a:gd name="connsiteX2" fmla="*/ 736806 w 736805"/>
                <a:gd name="connsiteY2" fmla="*/ 736806 h 736805"/>
                <a:gd name="connsiteX3" fmla="*/ 0 w 736805"/>
                <a:gd name="connsiteY3" fmla="*/ 736806 h 73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6805" h="736805">
                  <a:moveTo>
                    <a:pt x="0" y="0"/>
                  </a:moveTo>
                  <a:lnTo>
                    <a:pt x="736806" y="0"/>
                  </a:lnTo>
                  <a:lnTo>
                    <a:pt x="736806" y="736806"/>
                  </a:lnTo>
                  <a:lnTo>
                    <a:pt x="0" y="7368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5AB7332F-FCFD-6647-BAE6-0B153115D912}"/>
              </a:ext>
            </a:extLst>
          </p:cNvPr>
          <p:cNvSpPr/>
          <p:nvPr userDrawn="1"/>
        </p:nvSpPr>
        <p:spPr>
          <a:xfrm>
            <a:off x="6095999" y="0"/>
            <a:ext cx="6096001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RU" sz="1400" b="1"/>
          </a:p>
        </p:txBody>
      </p:sp>
    </p:spTree>
    <p:extLst>
      <p:ext uri="{BB962C8B-B14F-4D97-AF65-F5344CB8AC3E}">
        <p14:creationId xmlns:p14="http://schemas.microsoft.com/office/powerpoint/2010/main" val="13710593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">
    <p:bg>
      <p:bgPr>
        <a:gradFill>
          <a:gsLst>
            <a:gs pos="39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13344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rrow: Pentagon 32">
            <a:extLst>
              <a:ext uri="{FF2B5EF4-FFF2-40B4-BE49-F238E27FC236}">
                <a16:creationId xmlns:a16="http://schemas.microsoft.com/office/drawing/2014/main" id="{99DAB22F-91D8-404E-BFA7-58AA16117896}"/>
              </a:ext>
            </a:extLst>
          </p:cNvPr>
          <p:cNvSpPr/>
          <p:nvPr userDrawn="1"/>
        </p:nvSpPr>
        <p:spPr>
          <a:xfrm>
            <a:off x="0" y="448"/>
            <a:ext cx="8298194" cy="6857552"/>
          </a:xfrm>
          <a:prstGeom prst="homePlate">
            <a:avLst>
              <a:gd name="adj" fmla="val 9677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6260169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2554918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34470EC-990B-F141-8469-775FC523B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3417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34470EC-990B-F141-8469-775FC523B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B53E1A4D-FDB2-8546-853D-32EE81F32263}"/>
              </a:ext>
            </a:extLst>
          </p:cNvPr>
          <p:cNvSpPr/>
          <p:nvPr userDrawn="1"/>
        </p:nvSpPr>
        <p:spPr>
          <a:xfrm>
            <a:off x="0" y="0"/>
            <a:ext cx="4069629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RU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3B9391-7C88-F840-833E-B7D60DB63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3092669" cy="4372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D290833-E380-9144-921E-7981C45A8E00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28" name="TextBox 1">
            <a:extLst>
              <a:ext uri="{FF2B5EF4-FFF2-40B4-BE49-F238E27FC236}">
                <a16:creationId xmlns:a16="http://schemas.microsoft.com/office/drawing/2014/main" id="{C70A0AE9-9071-C247-85CC-AA9C40D7F03D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EB2A947-B59F-4641-A9AC-86F90A23A2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665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34470EC-990B-F141-8469-775FC523B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2706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34470EC-990B-F141-8469-775FC523B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B53E1A4D-FDB2-8546-853D-32EE81F32263}"/>
              </a:ext>
            </a:extLst>
          </p:cNvPr>
          <p:cNvSpPr/>
          <p:nvPr userDrawn="1"/>
        </p:nvSpPr>
        <p:spPr>
          <a:xfrm>
            <a:off x="8122371" y="0"/>
            <a:ext cx="4069629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RU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3B9391-7C88-F840-833E-B7D60DB63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7066800" cy="437236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4257CBA9-8590-AE43-8CB4-9C9EDD1224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6366735"/>
            <a:ext cx="7066800" cy="153888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Trebuchet MS" panose="020B0703020202090204" pitchFamily="34" charset="0"/>
                <a:ea typeface="ＭＳ Ｐゴシック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ru-RU"/>
              <a:t>Источни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4839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-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7300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3750CABC-2070-3045-9979-5EB6FF8AA8B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664784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12181EAB-F7DD-9E41-87E1-36C960A5949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86303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1C4B0EEE-BB90-6E4F-BD1C-F5D4DAC2606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07821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BEF81ACC-E8D8-A84D-A3FF-79C0E8DFA0A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9342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5BC5280-07C4-5648-8F89-3AB2A146E15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3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en-RU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DEC1154-29E1-4843-A9B8-8161644685E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3601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5962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E720B4A-FFE4-B741-BACA-7DEFF080782F}"/>
              </a:ext>
            </a:extLst>
          </p:cNvPr>
          <p:cNvSpPr/>
          <p:nvPr userDrawn="1"/>
        </p:nvSpPr>
        <p:spPr>
          <a:xfrm>
            <a:off x="0" y="1215189"/>
            <a:ext cx="3862137" cy="564281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9E67AC2-2EAD-B34F-B2A4-8E4B4C4A6A83}"/>
              </a:ext>
            </a:extLst>
          </p:cNvPr>
          <p:cNvCxnSpPr>
            <a:cxnSpLocks/>
          </p:cNvCxnSpPr>
          <p:nvPr userDrawn="1"/>
        </p:nvCxnSpPr>
        <p:spPr>
          <a:xfrm>
            <a:off x="566939" y="3780809"/>
            <a:ext cx="792629" cy="0"/>
          </a:xfrm>
          <a:prstGeom prst="line">
            <a:avLst/>
          </a:prstGeom>
          <a:ln w="38100" cmpd="sng">
            <a:solidFill>
              <a:schemeClr val="bg1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33" y="2582949"/>
            <a:ext cx="3078629" cy="738664"/>
          </a:xfrm>
        </p:spPr>
        <p:txBody>
          <a:bodyPr vert="horz"/>
          <a:lstStyle>
            <a:lvl1pPr>
              <a:defRPr sz="2400"/>
            </a:lvl1pPr>
          </a:lstStyle>
          <a:p>
            <a:r>
              <a:rPr lang="ru-RU"/>
              <a:t>Имя</a:t>
            </a:r>
            <a:br>
              <a:rPr lang="ru-RU"/>
            </a:br>
            <a:r>
              <a:rPr lang="ru-RU"/>
              <a:t>Фамилия</a:t>
            </a:r>
            <a:endParaRPr lang="en-RU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37EEDB8-49D1-D244-928D-D95B3B5AB18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6939" y="0"/>
            <a:ext cx="2549240" cy="254945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A7FE9F-1BEE-CC4D-AD27-C477FA21FD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333" y="3321612"/>
            <a:ext cx="30559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ru-RU"/>
              <a:t>Должность</a:t>
            </a: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1763EB7E-C3F6-7C46-ABF7-DD7FE5AE82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2092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gradFill>
          <a:gsLst>
            <a:gs pos="10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49352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3157" y="3694067"/>
            <a:ext cx="10437979" cy="738664"/>
          </a:xfrm>
        </p:spPr>
        <p:txBody>
          <a:bodyPr vert="horz" anchor="b" anchorCtr="0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  <a:endParaRPr lang="en-RU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73F2CC7-906E-0A43-8BC5-CAEFB87F11CB}"/>
              </a:ext>
            </a:extLst>
          </p:cNvPr>
          <p:cNvCxnSpPr/>
          <p:nvPr userDrawn="1"/>
        </p:nvCxnSpPr>
        <p:spPr>
          <a:xfrm>
            <a:off x="1203157" y="4728411"/>
            <a:ext cx="1491916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039A95A-0241-834F-99E5-43B101E36DDD}"/>
              </a:ext>
            </a:extLst>
          </p:cNvPr>
          <p:cNvGrpSpPr/>
          <p:nvPr userDrawn="1"/>
        </p:nvGrpSpPr>
        <p:grpSpPr>
          <a:xfrm>
            <a:off x="8312338" y="3046281"/>
            <a:ext cx="3879660" cy="3811720"/>
            <a:chOff x="8312338" y="3046281"/>
            <a:chExt cx="3879660" cy="3811720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FBB1D06B-DE12-1040-AA63-264EB7B5A67A}"/>
                </a:ext>
              </a:extLst>
            </p:cNvPr>
            <p:cNvSpPr/>
            <p:nvPr/>
          </p:nvSpPr>
          <p:spPr>
            <a:xfrm>
              <a:off x="9494872" y="4224080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062C84BC-0543-554D-862F-33CAB0F014BF}"/>
                </a:ext>
              </a:extLst>
            </p:cNvPr>
            <p:cNvSpPr/>
            <p:nvPr/>
          </p:nvSpPr>
          <p:spPr>
            <a:xfrm>
              <a:off x="10877320" y="5541041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619FD709-138E-C943-87BE-E2A14FC5E990}"/>
                </a:ext>
              </a:extLst>
            </p:cNvPr>
            <p:cNvSpPr/>
            <p:nvPr/>
          </p:nvSpPr>
          <p:spPr>
            <a:xfrm>
              <a:off x="11141610" y="3046281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7 h 450206"/>
                <a:gd name="connsiteX3" fmla="*/ 0 w 449426"/>
                <a:gd name="connsiteY3" fmla="*/ 450207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7"/>
                  </a:lnTo>
                  <a:lnTo>
                    <a:pt x="0" y="450207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70859DDC-6596-4843-9603-982CD2DDD0CC}"/>
                </a:ext>
              </a:extLst>
            </p:cNvPr>
            <p:cNvSpPr/>
            <p:nvPr/>
          </p:nvSpPr>
          <p:spPr>
            <a:xfrm>
              <a:off x="8312338" y="5887253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6 h 450206"/>
                <a:gd name="connsiteX3" fmla="*/ 0 w 449426"/>
                <a:gd name="connsiteY3" fmla="*/ 450206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6"/>
                  </a:lnTo>
                  <a:lnTo>
                    <a:pt x="0" y="4502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BEB74981-D994-E449-8EFE-FDD59D63F8E5}"/>
                </a:ext>
              </a:extLst>
            </p:cNvPr>
            <p:cNvSpPr/>
            <p:nvPr/>
          </p:nvSpPr>
          <p:spPr>
            <a:xfrm>
              <a:off x="8312338" y="3080224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4EB3CD7-499A-4A4A-8338-3C16D89DB93E}"/>
                </a:ext>
              </a:extLst>
            </p:cNvPr>
            <p:cNvSpPr/>
            <p:nvPr/>
          </p:nvSpPr>
          <p:spPr>
            <a:xfrm>
              <a:off x="10175930" y="3182050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713EFE07-EE67-B341-B594-AA5B8B330EED}"/>
                </a:ext>
              </a:extLst>
            </p:cNvPr>
            <p:cNvSpPr/>
            <p:nvPr/>
          </p:nvSpPr>
          <p:spPr>
            <a:xfrm>
              <a:off x="11039959" y="4526166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3F625451-0534-4F4E-99B0-C1836CEE3855}"/>
                </a:ext>
              </a:extLst>
            </p:cNvPr>
            <p:cNvSpPr/>
            <p:nvPr/>
          </p:nvSpPr>
          <p:spPr>
            <a:xfrm>
              <a:off x="9555861" y="5758273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E375CC17-1B77-694D-8E5A-97028735B056}"/>
                </a:ext>
              </a:extLst>
            </p:cNvPr>
            <p:cNvSpPr/>
            <p:nvPr/>
          </p:nvSpPr>
          <p:spPr>
            <a:xfrm>
              <a:off x="8613900" y="4597446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CDDDA135-170F-E545-872E-277F8BA7DEC6}"/>
                </a:ext>
              </a:extLst>
            </p:cNvPr>
            <p:cNvSpPr/>
            <p:nvPr/>
          </p:nvSpPr>
          <p:spPr>
            <a:xfrm>
              <a:off x="9274630" y="3507897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000982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042D70A-611D-444B-888D-41DB055FEA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81760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042D70A-611D-444B-888D-41DB055FEA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3">
            <a:extLst>
              <a:ext uri="{FF2B5EF4-FFF2-40B4-BE49-F238E27FC236}">
                <a16:creationId xmlns:a16="http://schemas.microsoft.com/office/drawing/2014/main" id="{AB57EBE9-176D-5F4D-8209-6E45FB780C4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36035" y="-2037"/>
            <a:ext cx="10455965" cy="6860038"/>
          </a:xfrm>
          <a:custGeom>
            <a:avLst/>
            <a:gdLst/>
            <a:ahLst/>
            <a:cxnLst>
              <a:cxn ang="0">
                <a:pos x="8" y="24"/>
              </a:cxn>
              <a:cxn ang="0">
                <a:pos x="0" y="40"/>
              </a:cxn>
              <a:cxn ang="0">
                <a:pos x="204" y="0"/>
              </a:cxn>
              <a:cxn ang="0">
                <a:pos x="156" y="2"/>
              </a:cxn>
              <a:cxn ang="0">
                <a:pos x="204" y="48"/>
              </a:cxn>
              <a:cxn ang="0">
                <a:pos x="65" y="0"/>
              </a:cxn>
              <a:cxn ang="0">
                <a:pos x="62" y="71"/>
              </a:cxn>
              <a:cxn ang="0">
                <a:pos x="65" y="141"/>
              </a:cxn>
              <a:cxn ang="0">
                <a:pos x="65" y="0"/>
              </a:cxn>
              <a:cxn ang="0">
                <a:pos x="146" y="141"/>
              </a:cxn>
              <a:cxn ang="0">
                <a:pos x="108" y="104"/>
              </a:cxn>
              <a:cxn ang="0">
                <a:pos x="156" y="141"/>
              </a:cxn>
              <a:cxn ang="0">
                <a:pos x="204" y="124"/>
              </a:cxn>
              <a:cxn ang="0">
                <a:pos x="156" y="141"/>
              </a:cxn>
              <a:cxn ang="0">
                <a:pos x="204" y="60"/>
              </a:cxn>
              <a:cxn ang="0">
                <a:pos x="156" y="104"/>
              </a:cxn>
              <a:cxn ang="0">
                <a:pos x="73" y="96"/>
              </a:cxn>
              <a:cxn ang="0">
                <a:pos x="101" y="140"/>
              </a:cxn>
              <a:cxn ang="0">
                <a:pos x="73" y="96"/>
              </a:cxn>
              <a:cxn ang="0">
                <a:pos x="146" y="58"/>
              </a:cxn>
              <a:cxn ang="0">
                <a:pos x="108" y="95"/>
              </a:cxn>
              <a:cxn ang="0">
                <a:pos x="73" y="55"/>
              </a:cxn>
              <a:cxn ang="0">
                <a:pos x="101" y="94"/>
              </a:cxn>
              <a:cxn ang="0">
                <a:pos x="73" y="55"/>
              </a:cxn>
              <a:cxn ang="0">
                <a:pos x="146" y="4"/>
              </a:cxn>
              <a:cxn ang="0">
                <a:pos x="108" y="48"/>
              </a:cxn>
              <a:cxn ang="0">
                <a:pos x="73" y="14"/>
              </a:cxn>
              <a:cxn ang="0">
                <a:pos x="101" y="48"/>
              </a:cxn>
              <a:cxn ang="0">
                <a:pos x="73" y="14"/>
              </a:cxn>
              <a:cxn ang="0">
                <a:pos x="11" y="86"/>
              </a:cxn>
              <a:cxn ang="0">
                <a:pos x="1" y="103"/>
              </a:cxn>
              <a:cxn ang="0">
                <a:pos x="15" y="84"/>
              </a:cxn>
              <a:cxn ang="0">
                <a:pos x="25" y="105"/>
              </a:cxn>
              <a:cxn ang="0">
                <a:pos x="15" y="84"/>
              </a:cxn>
              <a:cxn ang="0">
                <a:pos x="55" y="87"/>
              </a:cxn>
              <a:cxn ang="0">
                <a:pos x="55" y="123"/>
              </a:cxn>
              <a:cxn ang="0">
                <a:pos x="33" y="99"/>
              </a:cxn>
              <a:cxn ang="0">
                <a:pos x="36" y="57"/>
              </a:cxn>
              <a:cxn ang="0">
                <a:pos x="48" y="78"/>
              </a:cxn>
              <a:cxn ang="0">
                <a:pos x="36" y="57"/>
              </a:cxn>
              <a:cxn ang="0">
                <a:pos x="31" y="50"/>
              </a:cxn>
              <a:cxn ang="0">
                <a:pos x="31" y="82"/>
              </a:cxn>
              <a:cxn ang="0">
                <a:pos x="13" y="64"/>
              </a:cxn>
              <a:cxn ang="0">
                <a:pos x="4" y="57"/>
              </a:cxn>
              <a:cxn ang="0">
                <a:pos x="10" y="69"/>
              </a:cxn>
              <a:cxn ang="0">
                <a:pos x="4" y="57"/>
              </a:cxn>
              <a:cxn ang="0">
                <a:pos x="18" y="33"/>
              </a:cxn>
              <a:cxn ang="0">
                <a:pos x="11" y="45"/>
              </a:cxn>
              <a:cxn ang="0">
                <a:pos x="37" y="20"/>
              </a:cxn>
              <a:cxn ang="0">
                <a:pos x="53" y="44"/>
              </a:cxn>
              <a:cxn ang="0">
                <a:pos x="37" y="20"/>
              </a:cxn>
              <a:cxn ang="0">
                <a:pos x="34" y="23"/>
              </a:cxn>
              <a:cxn ang="0">
                <a:pos x="23" y="42"/>
              </a:cxn>
            </a:cxnLst>
            <a:rect l="0" t="0" r="r" b="b"/>
            <a:pathLst>
              <a:path w="204" h="141">
                <a:moveTo>
                  <a:pt x="0" y="25"/>
                </a:moveTo>
                <a:cubicBezTo>
                  <a:pt x="3" y="25"/>
                  <a:pt x="5" y="25"/>
                  <a:pt x="8" y="24"/>
                </a:cubicBezTo>
                <a:cubicBezTo>
                  <a:pt x="8" y="30"/>
                  <a:pt x="8" y="35"/>
                  <a:pt x="8" y="40"/>
                </a:cubicBezTo>
                <a:cubicBezTo>
                  <a:pt x="5" y="40"/>
                  <a:pt x="3" y="40"/>
                  <a:pt x="0" y="40"/>
                </a:cubicBezTo>
                <a:cubicBezTo>
                  <a:pt x="0" y="35"/>
                  <a:pt x="0" y="30"/>
                  <a:pt x="0" y="25"/>
                </a:cubicBezTo>
                <a:close/>
                <a:moveTo>
                  <a:pt x="204" y="0"/>
                </a:moveTo>
                <a:lnTo>
                  <a:pt x="172" y="0"/>
                </a:lnTo>
                <a:lnTo>
                  <a:pt x="156" y="2"/>
                </a:lnTo>
                <a:cubicBezTo>
                  <a:pt x="156" y="18"/>
                  <a:pt x="156" y="33"/>
                  <a:pt x="156" y="48"/>
                </a:cubicBezTo>
                <a:lnTo>
                  <a:pt x="204" y="48"/>
                </a:lnTo>
                <a:lnTo>
                  <a:pt x="204" y="0"/>
                </a:lnTo>
                <a:close/>
                <a:moveTo>
                  <a:pt x="65" y="0"/>
                </a:moveTo>
                <a:lnTo>
                  <a:pt x="62" y="0"/>
                </a:lnTo>
                <a:cubicBezTo>
                  <a:pt x="62" y="24"/>
                  <a:pt x="62" y="47"/>
                  <a:pt x="62" y="71"/>
                </a:cubicBezTo>
                <a:cubicBezTo>
                  <a:pt x="62" y="94"/>
                  <a:pt x="63" y="117"/>
                  <a:pt x="63" y="141"/>
                </a:cubicBezTo>
                <a:lnTo>
                  <a:pt x="65" y="141"/>
                </a:lnTo>
                <a:cubicBezTo>
                  <a:pt x="65" y="118"/>
                  <a:pt x="65" y="94"/>
                  <a:pt x="65" y="71"/>
                </a:cubicBezTo>
                <a:lnTo>
                  <a:pt x="65" y="0"/>
                </a:lnTo>
                <a:close/>
                <a:moveTo>
                  <a:pt x="108" y="141"/>
                </a:moveTo>
                <a:lnTo>
                  <a:pt x="146" y="141"/>
                </a:lnTo>
                <a:cubicBezTo>
                  <a:pt x="146" y="131"/>
                  <a:pt x="146" y="121"/>
                  <a:pt x="146" y="112"/>
                </a:cubicBezTo>
                <a:cubicBezTo>
                  <a:pt x="132" y="109"/>
                  <a:pt x="120" y="106"/>
                  <a:pt x="108" y="104"/>
                </a:cubicBezTo>
                <a:cubicBezTo>
                  <a:pt x="108" y="116"/>
                  <a:pt x="108" y="129"/>
                  <a:pt x="108" y="141"/>
                </a:cubicBezTo>
                <a:close/>
                <a:moveTo>
                  <a:pt x="156" y="141"/>
                </a:moveTo>
                <a:lnTo>
                  <a:pt x="204" y="141"/>
                </a:lnTo>
                <a:lnTo>
                  <a:pt x="204" y="124"/>
                </a:lnTo>
                <a:cubicBezTo>
                  <a:pt x="187" y="120"/>
                  <a:pt x="171" y="117"/>
                  <a:pt x="156" y="114"/>
                </a:cubicBezTo>
                <a:lnTo>
                  <a:pt x="156" y="141"/>
                </a:lnTo>
                <a:close/>
                <a:moveTo>
                  <a:pt x="204" y="112"/>
                </a:moveTo>
                <a:lnTo>
                  <a:pt x="204" y="60"/>
                </a:lnTo>
                <a:lnTo>
                  <a:pt x="156" y="58"/>
                </a:lnTo>
                <a:cubicBezTo>
                  <a:pt x="156" y="73"/>
                  <a:pt x="156" y="89"/>
                  <a:pt x="156" y="104"/>
                </a:cubicBezTo>
                <a:cubicBezTo>
                  <a:pt x="171" y="106"/>
                  <a:pt x="187" y="109"/>
                  <a:pt x="204" y="112"/>
                </a:cubicBezTo>
                <a:close/>
                <a:moveTo>
                  <a:pt x="73" y="96"/>
                </a:moveTo>
                <a:cubicBezTo>
                  <a:pt x="82" y="98"/>
                  <a:pt x="91" y="100"/>
                  <a:pt x="101" y="102"/>
                </a:cubicBezTo>
                <a:cubicBezTo>
                  <a:pt x="101" y="115"/>
                  <a:pt x="101" y="127"/>
                  <a:pt x="101" y="140"/>
                </a:cubicBezTo>
                <a:cubicBezTo>
                  <a:pt x="91" y="136"/>
                  <a:pt x="82" y="133"/>
                  <a:pt x="73" y="130"/>
                </a:cubicBezTo>
                <a:cubicBezTo>
                  <a:pt x="73" y="119"/>
                  <a:pt x="73" y="108"/>
                  <a:pt x="73" y="96"/>
                </a:cubicBezTo>
                <a:close/>
                <a:moveTo>
                  <a:pt x="108" y="56"/>
                </a:moveTo>
                <a:cubicBezTo>
                  <a:pt x="120" y="57"/>
                  <a:pt x="132" y="57"/>
                  <a:pt x="146" y="58"/>
                </a:cubicBezTo>
                <a:cubicBezTo>
                  <a:pt x="146" y="72"/>
                  <a:pt x="146" y="87"/>
                  <a:pt x="146" y="102"/>
                </a:cubicBezTo>
                <a:cubicBezTo>
                  <a:pt x="132" y="100"/>
                  <a:pt x="120" y="97"/>
                  <a:pt x="108" y="95"/>
                </a:cubicBezTo>
                <a:cubicBezTo>
                  <a:pt x="108" y="82"/>
                  <a:pt x="108" y="69"/>
                  <a:pt x="108" y="56"/>
                </a:cubicBezTo>
                <a:close/>
                <a:moveTo>
                  <a:pt x="73" y="55"/>
                </a:moveTo>
                <a:cubicBezTo>
                  <a:pt x="81" y="56"/>
                  <a:pt x="91" y="56"/>
                  <a:pt x="101" y="56"/>
                </a:cubicBezTo>
                <a:cubicBezTo>
                  <a:pt x="101" y="69"/>
                  <a:pt x="101" y="81"/>
                  <a:pt x="101" y="94"/>
                </a:cubicBezTo>
                <a:cubicBezTo>
                  <a:pt x="91" y="92"/>
                  <a:pt x="82" y="90"/>
                  <a:pt x="73" y="89"/>
                </a:cubicBezTo>
                <a:cubicBezTo>
                  <a:pt x="73" y="78"/>
                  <a:pt x="73" y="67"/>
                  <a:pt x="73" y="55"/>
                </a:cubicBezTo>
                <a:close/>
                <a:moveTo>
                  <a:pt x="108" y="9"/>
                </a:moveTo>
                <a:cubicBezTo>
                  <a:pt x="119" y="8"/>
                  <a:pt x="132" y="6"/>
                  <a:pt x="146" y="4"/>
                </a:cubicBezTo>
                <a:cubicBezTo>
                  <a:pt x="146" y="19"/>
                  <a:pt x="146" y="33"/>
                  <a:pt x="146" y="48"/>
                </a:cubicBezTo>
                <a:cubicBezTo>
                  <a:pt x="132" y="48"/>
                  <a:pt x="120" y="48"/>
                  <a:pt x="108" y="48"/>
                </a:cubicBezTo>
                <a:cubicBezTo>
                  <a:pt x="108" y="35"/>
                  <a:pt x="108" y="22"/>
                  <a:pt x="108" y="9"/>
                </a:cubicBezTo>
                <a:close/>
                <a:moveTo>
                  <a:pt x="73" y="14"/>
                </a:moveTo>
                <a:cubicBezTo>
                  <a:pt x="81" y="13"/>
                  <a:pt x="91" y="12"/>
                  <a:pt x="101" y="10"/>
                </a:cubicBezTo>
                <a:cubicBezTo>
                  <a:pt x="101" y="23"/>
                  <a:pt x="101" y="35"/>
                  <a:pt x="101" y="48"/>
                </a:cubicBezTo>
                <a:cubicBezTo>
                  <a:pt x="91" y="48"/>
                  <a:pt x="81" y="48"/>
                  <a:pt x="73" y="48"/>
                </a:cubicBezTo>
                <a:cubicBezTo>
                  <a:pt x="73" y="37"/>
                  <a:pt x="73" y="25"/>
                  <a:pt x="73" y="14"/>
                </a:cubicBezTo>
                <a:close/>
                <a:moveTo>
                  <a:pt x="0" y="83"/>
                </a:moveTo>
                <a:cubicBezTo>
                  <a:pt x="4" y="84"/>
                  <a:pt x="7" y="85"/>
                  <a:pt x="11" y="86"/>
                </a:cubicBezTo>
                <a:cubicBezTo>
                  <a:pt x="11" y="93"/>
                  <a:pt x="11" y="100"/>
                  <a:pt x="11" y="107"/>
                </a:cubicBezTo>
                <a:cubicBezTo>
                  <a:pt x="8" y="105"/>
                  <a:pt x="4" y="104"/>
                  <a:pt x="1" y="103"/>
                </a:cubicBezTo>
                <a:cubicBezTo>
                  <a:pt x="0" y="96"/>
                  <a:pt x="0" y="90"/>
                  <a:pt x="0" y="83"/>
                </a:cubicBezTo>
                <a:close/>
                <a:moveTo>
                  <a:pt x="15" y="84"/>
                </a:moveTo>
                <a:cubicBezTo>
                  <a:pt x="18" y="85"/>
                  <a:pt x="21" y="86"/>
                  <a:pt x="24" y="87"/>
                </a:cubicBezTo>
                <a:cubicBezTo>
                  <a:pt x="25" y="93"/>
                  <a:pt x="25" y="99"/>
                  <a:pt x="25" y="105"/>
                </a:cubicBezTo>
                <a:cubicBezTo>
                  <a:pt x="21" y="103"/>
                  <a:pt x="18" y="102"/>
                  <a:pt x="15" y="101"/>
                </a:cubicBezTo>
                <a:cubicBezTo>
                  <a:pt x="15" y="96"/>
                  <a:pt x="15" y="90"/>
                  <a:pt x="15" y="84"/>
                </a:cubicBezTo>
                <a:close/>
                <a:moveTo>
                  <a:pt x="33" y="83"/>
                </a:moveTo>
                <a:cubicBezTo>
                  <a:pt x="40" y="84"/>
                  <a:pt x="47" y="85"/>
                  <a:pt x="55" y="87"/>
                </a:cubicBezTo>
                <a:cubicBezTo>
                  <a:pt x="55" y="93"/>
                  <a:pt x="55" y="99"/>
                  <a:pt x="55" y="105"/>
                </a:cubicBezTo>
                <a:cubicBezTo>
                  <a:pt x="55" y="111"/>
                  <a:pt x="55" y="117"/>
                  <a:pt x="55" y="123"/>
                </a:cubicBezTo>
                <a:cubicBezTo>
                  <a:pt x="47" y="120"/>
                  <a:pt x="40" y="118"/>
                  <a:pt x="33" y="115"/>
                </a:cubicBezTo>
                <a:cubicBezTo>
                  <a:pt x="33" y="110"/>
                  <a:pt x="33" y="104"/>
                  <a:pt x="33" y="99"/>
                </a:cubicBezTo>
                <a:cubicBezTo>
                  <a:pt x="33" y="94"/>
                  <a:pt x="33" y="88"/>
                  <a:pt x="33" y="83"/>
                </a:cubicBezTo>
                <a:close/>
                <a:moveTo>
                  <a:pt x="36" y="57"/>
                </a:moveTo>
                <a:cubicBezTo>
                  <a:pt x="40" y="57"/>
                  <a:pt x="44" y="57"/>
                  <a:pt x="48" y="58"/>
                </a:cubicBezTo>
                <a:cubicBezTo>
                  <a:pt x="48" y="64"/>
                  <a:pt x="48" y="71"/>
                  <a:pt x="48" y="78"/>
                </a:cubicBezTo>
                <a:cubicBezTo>
                  <a:pt x="44" y="77"/>
                  <a:pt x="40" y="77"/>
                  <a:pt x="36" y="76"/>
                </a:cubicBezTo>
                <a:cubicBezTo>
                  <a:pt x="36" y="70"/>
                  <a:pt x="36" y="63"/>
                  <a:pt x="36" y="57"/>
                </a:cubicBezTo>
                <a:close/>
                <a:moveTo>
                  <a:pt x="13" y="50"/>
                </a:moveTo>
                <a:cubicBezTo>
                  <a:pt x="19" y="50"/>
                  <a:pt x="25" y="50"/>
                  <a:pt x="31" y="50"/>
                </a:cubicBezTo>
                <a:cubicBezTo>
                  <a:pt x="31" y="55"/>
                  <a:pt x="31" y="61"/>
                  <a:pt x="31" y="66"/>
                </a:cubicBezTo>
                <a:cubicBezTo>
                  <a:pt x="31" y="71"/>
                  <a:pt x="31" y="77"/>
                  <a:pt x="31" y="82"/>
                </a:cubicBezTo>
                <a:cubicBezTo>
                  <a:pt x="25" y="81"/>
                  <a:pt x="19" y="80"/>
                  <a:pt x="13" y="79"/>
                </a:cubicBezTo>
                <a:cubicBezTo>
                  <a:pt x="13" y="74"/>
                  <a:pt x="13" y="69"/>
                  <a:pt x="13" y="64"/>
                </a:cubicBezTo>
                <a:cubicBezTo>
                  <a:pt x="13" y="59"/>
                  <a:pt x="13" y="54"/>
                  <a:pt x="13" y="50"/>
                </a:cubicBezTo>
                <a:close/>
                <a:moveTo>
                  <a:pt x="4" y="57"/>
                </a:moveTo>
                <a:cubicBezTo>
                  <a:pt x="6" y="57"/>
                  <a:pt x="8" y="57"/>
                  <a:pt x="10" y="57"/>
                </a:cubicBezTo>
                <a:cubicBezTo>
                  <a:pt x="10" y="61"/>
                  <a:pt x="10" y="65"/>
                  <a:pt x="10" y="69"/>
                </a:cubicBezTo>
                <a:cubicBezTo>
                  <a:pt x="8" y="69"/>
                  <a:pt x="6" y="69"/>
                  <a:pt x="4" y="68"/>
                </a:cubicBezTo>
                <a:cubicBezTo>
                  <a:pt x="4" y="65"/>
                  <a:pt x="4" y="61"/>
                  <a:pt x="4" y="57"/>
                </a:cubicBezTo>
                <a:close/>
                <a:moveTo>
                  <a:pt x="11" y="33"/>
                </a:moveTo>
                <a:cubicBezTo>
                  <a:pt x="13" y="33"/>
                  <a:pt x="15" y="33"/>
                  <a:pt x="18" y="33"/>
                </a:cubicBezTo>
                <a:cubicBezTo>
                  <a:pt x="18" y="37"/>
                  <a:pt x="18" y="41"/>
                  <a:pt x="18" y="45"/>
                </a:cubicBezTo>
                <a:cubicBezTo>
                  <a:pt x="15" y="45"/>
                  <a:pt x="13" y="45"/>
                  <a:pt x="11" y="45"/>
                </a:cubicBezTo>
                <a:cubicBezTo>
                  <a:pt x="11" y="41"/>
                  <a:pt x="11" y="37"/>
                  <a:pt x="11" y="33"/>
                </a:cubicBezTo>
                <a:close/>
                <a:moveTo>
                  <a:pt x="37" y="20"/>
                </a:moveTo>
                <a:cubicBezTo>
                  <a:pt x="42" y="20"/>
                  <a:pt x="47" y="19"/>
                  <a:pt x="53" y="18"/>
                </a:cubicBezTo>
                <a:cubicBezTo>
                  <a:pt x="53" y="27"/>
                  <a:pt x="53" y="35"/>
                  <a:pt x="53" y="44"/>
                </a:cubicBezTo>
                <a:cubicBezTo>
                  <a:pt x="47" y="44"/>
                  <a:pt x="42" y="44"/>
                  <a:pt x="37" y="44"/>
                </a:cubicBezTo>
                <a:cubicBezTo>
                  <a:pt x="37" y="36"/>
                  <a:pt x="37" y="28"/>
                  <a:pt x="37" y="20"/>
                </a:cubicBezTo>
                <a:close/>
                <a:moveTo>
                  <a:pt x="22" y="24"/>
                </a:moveTo>
                <a:cubicBezTo>
                  <a:pt x="26" y="24"/>
                  <a:pt x="30" y="23"/>
                  <a:pt x="34" y="23"/>
                </a:cubicBezTo>
                <a:cubicBezTo>
                  <a:pt x="34" y="29"/>
                  <a:pt x="34" y="35"/>
                  <a:pt x="34" y="42"/>
                </a:cubicBezTo>
                <a:cubicBezTo>
                  <a:pt x="30" y="42"/>
                  <a:pt x="26" y="42"/>
                  <a:pt x="23" y="42"/>
                </a:cubicBezTo>
                <a:cubicBezTo>
                  <a:pt x="22" y="36"/>
                  <a:pt x="22" y="30"/>
                  <a:pt x="22" y="24"/>
                </a:cubicBezTo>
                <a:close/>
              </a:path>
            </a:pathLst>
          </a:custGeom>
          <a:solidFill>
            <a:srgbClr val="F3F4F7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AD1E6E-469A-464E-8995-70D252AACB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61000">
                <a:schemeClr val="bg1">
                  <a:alpha val="50000"/>
                </a:schemeClr>
              </a:gs>
              <a:gs pos="100000">
                <a:schemeClr val="bg1">
                  <a:alpha val="1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1687EA-BFFB-BC43-969A-1490C3D97E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ru-RU"/>
              <a:t>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8044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_2 (With sour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33603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en-RU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82254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293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369332"/>
          </a:xfrm>
        </p:spPr>
        <p:txBody>
          <a:bodyPr vert="horz"/>
          <a:lstStyle>
            <a:lvl1pPr>
              <a:defRPr sz="2400"/>
            </a:lvl1pPr>
          </a:lstStyle>
          <a:p>
            <a:r>
              <a:rPr lang="ru-RU"/>
              <a:t>Заголовок</a:t>
            </a:r>
            <a:endParaRPr lang="en-RU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770D9B08-BF1F-D747-A699-AA29CB826EA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2817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633EF7B-9EEC-4EE5-939B-2FA4DD1D2A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4BF8E27-B1FC-465A-976C-153C3EE801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4EB46EE-F091-4204-A057-7A91BEB6D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AE7D48-C32B-4408-8A91-1DE9F4EF94C1}" type="datetimeFigureOut">
              <a:rPr lang="ru-RU" smtClean="0"/>
              <a:t>15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67CE07-D312-41D8-B28E-52DEFC10A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432E626-3958-4A1D-878C-4D397CD89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2B29E-F3D3-4AA5-A4FD-8F5B5BEB04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7417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5DB51C-22D4-CB1E-717F-53C377774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AFCF21-9D0F-9652-07FB-A9889739AD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8799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0626094"/>
              </p:ext>
            </p:extLst>
          </p:nvPr>
        </p:nvGraphicFramePr>
        <p:xfrm>
          <a:off x="1960" y="1597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0" y="1597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000" b="0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6244" y="388154"/>
            <a:ext cx="11520000" cy="3077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6244" y="146305"/>
            <a:ext cx="11520000" cy="184666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endParaRPr lang="ru-RU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50" y="6312181"/>
            <a:ext cx="11520488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24" indent="0" algn="ctr">
              <a:buNone/>
              <a:defRPr sz="2000"/>
            </a:lvl2pPr>
            <a:lvl3pPr marL="914446" indent="0" algn="ctr">
              <a:buNone/>
              <a:defRPr sz="1801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8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1 – </a:t>
            </a:r>
            <a:r>
              <a:rPr lang="ru-RU"/>
              <a:t>текст сноск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336245" y="6504109"/>
            <a:ext cx="9360000" cy="138499"/>
          </a:xfrm>
        </p:spPr>
        <p:txBody>
          <a:bodyPr wrap="square" anchor="t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Источник: анализ </a:t>
            </a:r>
            <a:r>
              <a:rPr lang="en-US"/>
              <a:t>Strategy Partner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79814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Сгруппировать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29" name="Picture 9" descr="Picture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30" name="Rectangle 24"/>
            <p:cNvSpPr/>
            <p:nvPr/>
          </p:nvSpPr>
          <p:spPr>
            <a:xfrm>
              <a:off x="766762" y="753175"/>
              <a:ext cx="10658476" cy="5339651"/>
            </a:xfrm>
            <a:prstGeom prst="rect">
              <a:avLst/>
            </a:prstGeom>
            <a:solidFill>
              <a:srgbClr val="FFFFFF"/>
            </a:solidFill>
            <a:ln w="3175" cap="flat">
              <a:solidFill>
                <a:srgbClr val="32538F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 defTabSz="914400">
                <a:spcBef>
                  <a:spcPts val="0"/>
                </a:spcBef>
                <a:defRPr sz="1800">
                  <a:solidFill>
                    <a:srgbClr val="FFFFFF"/>
                  </a:solidFill>
                  <a:latin typeface="+mj-lt"/>
                  <a:ea typeface="+mj-ea"/>
                  <a:cs typeface="+mj-cs"/>
                  <a:sym typeface="Calibri"/>
                </a:defRPr>
              </a:pPr>
              <a:endParaRPr/>
            </a:p>
          </p:txBody>
        </p:sp>
      </p:grpSp>
      <p:pic>
        <p:nvPicPr>
          <p:cNvPr id="32" name="Picture 28" descr="Picture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3859" y="962172"/>
            <a:ext cx="886500" cy="886500"/>
          </a:xfrm>
          <a:prstGeom prst="rect">
            <a:avLst/>
          </a:prstGeom>
          <a:ln w="12700">
            <a:miter lim="400000"/>
          </a:ln>
        </p:spPr>
      </p:pic>
      <p:sp>
        <p:nvSpPr>
          <p:cNvPr id="33" name="Straight Connector 48"/>
          <p:cNvSpPr/>
          <p:nvPr/>
        </p:nvSpPr>
        <p:spPr>
          <a:xfrm>
            <a:off x="6090212" y="962172"/>
            <a:ext cx="1" cy="840174"/>
          </a:xfrm>
          <a:prstGeom prst="line">
            <a:avLst/>
          </a:prstGeom>
          <a:ln w="12700">
            <a:solidFill>
              <a:srgbClr val="102D69"/>
            </a:solidFill>
            <a:miter/>
          </a:ln>
        </p:spPr>
        <p:txBody>
          <a:bodyPr lIns="45719" rIns="45719"/>
          <a:lstStyle/>
          <a:p>
            <a:pPr defTabSz="914400">
              <a:spcBef>
                <a:spcPts val="0"/>
              </a:spcBef>
              <a:defRPr sz="1800">
                <a:solidFill>
                  <a:srgbClr val="000000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/>
          </a:p>
        </p:txBody>
      </p:sp>
      <p:sp>
        <p:nvSpPr>
          <p:cNvPr id="34" name="Straight Connector 50"/>
          <p:cNvSpPr/>
          <p:nvPr/>
        </p:nvSpPr>
        <p:spPr>
          <a:xfrm>
            <a:off x="8642580" y="962172"/>
            <a:ext cx="1" cy="840174"/>
          </a:xfrm>
          <a:prstGeom prst="line">
            <a:avLst/>
          </a:prstGeom>
          <a:ln w="12700">
            <a:solidFill>
              <a:srgbClr val="102D69"/>
            </a:solidFill>
            <a:miter/>
          </a:ln>
        </p:spPr>
        <p:txBody>
          <a:bodyPr lIns="45719" rIns="45719"/>
          <a:lstStyle/>
          <a:p>
            <a:pPr defTabSz="914400">
              <a:spcBef>
                <a:spcPts val="0"/>
              </a:spcBef>
              <a:defRPr sz="1800">
                <a:solidFill>
                  <a:srgbClr val="000000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/>
          </a:p>
        </p:txBody>
      </p:sp>
      <p:sp>
        <p:nvSpPr>
          <p:cNvPr id="35" name="Straight Connector 51"/>
          <p:cNvSpPr/>
          <p:nvPr/>
        </p:nvSpPr>
        <p:spPr>
          <a:xfrm>
            <a:off x="11179046" y="962172"/>
            <a:ext cx="1" cy="840174"/>
          </a:xfrm>
          <a:prstGeom prst="line">
            <a:avLst/>
          </a:prstGeom>
          <a:ln w="12700">
            <a:solidFill>
              <a:srgbClr val="102D69"/>
            </a:solidFill>
            <a:miter/>
          </a:ln>
        </p:spPr>
        <p:txBody>
          <a:bodyPr lIns="45719" rIns="45719"/>
          <a:lstStyle/>
          <a:p>
            <a:pPr defTabSz="914400">
              <a:spcBef>
                <a:spcPts val="0"/>
              </a:spcBef>
              <a:defRPr sz="1800">
                <a:solidFill>
                  <a:srgbClr val="000000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/>
          </a:p>
        </p:txBody>
      </p:sp>
      <p:sp>
        <p:nvSpPr>
          <p:cNvPr id="36" name="Название факультета в две строки (16 pt)"/>
          <p:cNvSpPr txBox="1">
            <a:spLocks noGrp="1"/>
          </p:cNvSpPr>
          <p:nvPr>
            <p:ph type="body" sz="quarter" idx="21"/>
          </p:nvPr>
        </p:nvSpPr>
        <p:spPr>
          <a:xfrm>
            <a:off x="2130739" y="1112072"/>
            <a:ext cx="3581410" cy="70428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SzTx/>
              <a:buFontTx/>
              <a:buNone/>
              <a:defRPr sz="1600">
                <a:latin typeface="+mn-lt"/>
                <a:ea typeface="+mn-ea"/>
                <a:cs typeface="+mn-cs"/>
                <a:sym typeface="Helvetica"/>
              </a:defRPr>
            </a:pPr>
            <a:r>
              <a:t>Название факультета</a:t>
            </a:r>
            <a:br/>
            <a:r>
              <a:t>в две строки (16 pt)</a:t>
            </a:r>
          </a:p>
        </p:txBody>
      </p:sp>
      <p:sp>
        <p:nvSpPr>
          <p:cNvPr id="37" name="Название подразделения в две или три строки (12pt)"/>
          <p:cNvSpPr txBox="1">
            <a:spLocks noGrp="1"/>
          </p:cNvSpPr>
          <p:nvPr>
            <p:ph type="body" sz="quarter" idx="22"/>
          </p:nvPr>
        </p:nvSpPr>
        <p:spPr>
          <a:xfrm>
            <a:off x="6239979" y="1112072"/>
            <a:ext cx="2252835" cy="540375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SzTx/>
              <a:buFontTx/>
              <a:buNone/>
              <a:defRPr sz="1200">
                <a:latin typeface="+mn-lt"/>
                <a:ea typeface="+mn-ea"/>
                <a:cs typeface="+mn-cs"/>
                <a:sym typeface="Helvetica"/>
              </a:defRPr>
            </a:pPr>
            <a:r>
              <a:t>Название подразделения</a:t>
            </a:r>
            <a:br/>
            <a:r>
              <a:t>в две или три строки (12pt)</a:t>
            </a:r>
          </a:p>
        </p:txBody>
      </p:sp>
      <p:sp>
        <p:nvSpPr>
          <p:cNvPr id="38" name="Москва 2022 (12pt)"/>
          <p:cNvSpPr txBox="1">
            <a:spLocks noGrp="1"/>
          </p:cNvSpPr>
          <p:nvPr>
            <p:ph type="body" sz="quarter" idx="23"/>
          </p:nvPr>
        </p:nvSpPr>
        <p:spPr>
          <a:xfrm>
            <a:off x="8796001" y="1112072"/>
            <a:ext cx="2252835" cy="540375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80000"/>
              </a:lnSpc>
              <a:spcBef>
                <a:spcPts val="0"/>
              </a:spcBef>
              <a:buSzTx/>
              <a:buFontTx/>
              <a:buNone/>
              <a:defRPr sz="1200">
                <a:latin typeface="+mn-lt"/>
                <a:ea typeface="+mn-ea"/>
                <a:cs typeface="+mn-cs"/>
                <a:sym typeface="Helvetica"/>
              </a:defRPr>
            </a:pPr>
            <a:r>
              <a:t>Москва</a:t>
            </a:r>
            <a:br/>
            <a:r>
              <a:t>2022 (12pt)</a:t>
            </a:r>
          </a:p>
        </p:txBody>
      </p:sp>
      <p:sp>
        <p:nvSpPr>
          <p:cNvPr id="39" name="Название презентации может быть набрано в две  или три строки (43 pt)"/>
          <p:cNvSpPr txBox="1">
            <a:spLocks noGrp="1"/>
          </p:cNvSpPr>
          <p:nvPr>
            <p:ph type="body" sz="half" idx="24"/>
          </p:nvPr>
        </p:nvSpPr>
        <p:spPr>
          <a:xfrm>
            <a:off x="1014505" y="2284019"/>
            <a:ext cx="10162990" cy="1981496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80000"/>
              </a:lnSpc>
              <a:spcBef>
                <a:spcPts val="0"/>
              </a:spcBef>
              <a:buSzTx/>
              <a:buFontTx/>
              <a:buNone/>
              <a:defRPr sz="4300">
                <a:solidFill>
                  <a:srgbClr val="172C65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Название презентации</a:t>
            </a:r>
            <a:br/>
            <a:r>
              <a:t>может быть набрано в две </a:t>
            </a:r>
            <a:br/>
            <a:r>
              <a:t>или три строки (43 pt)</a:t>
            </a:r>
          </a:p>
        </p:txBody>
      </p:sp>
      <p:sp>
        <p:nvSpPr>
          <p:cNvPr id="40" name="Если нужно больше места,  то используйте подзаголовок (16 pt)"/>
          <p:cNvSpPr txBox="1">
            <a:spLocks noGrp="1"/>
          </p:cNvSpPr>
          <p:nvPr>
            <p:ph type="body" sz="quarter" idx="25"/>
          </p:nvPr>
        </p:nvSpPr>
        <p:spPr>
          <a:xfrm>
            <a:off x="1014505" y="4747187"/>
            <a:ext cx="4997854" cy="8865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SzTx/>
              <a:buFontTx/>
              <a:buNone/>
              <a:defRPr sz="1600">
                <a:latin typeface="+mn-lt"/>
                <a:ea typeface="+mn-ea"/>
                <a:cs typeface="+mn-cs"/>
                <a:sym typeface="Helvetica"/>
              </a:defRPr>
            </a:pPr>
            <a:r>
              <a:t>Если нужно больше места, </a:t>
            </a:r>
            <a:br/>
            <a:r>
              <a:t>то используйте подзаголовок (16 pt)</a:t>
            </a:r>
          </a:p>
        </p:txBody>
      </p:sp>
      <p:sp>
        <p:nvSpPr>
          <p:cNvPr id="4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26212606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gradFill>
          <a:gsLst>
            <a:gs pos="10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" name="Graphic 122">
            <a:extLst>
              <a:ext uri="{FF2B5EF4-FFF2-40B4-BE49-F238E27FC236}">
                <a16:creationId xmlns:a16="http://schemas.microsoft.com/office/drawing/2014/main" id="{BC8B2B37-B07F-9248-A69D-747BC3D594F6}"/>
              </a:ext>
            </a:extLst>
          </p:cNvPr>
          <p:cNvGrpSpPr/>
          <p:nvPr userDrawn="1"/>
        </p:nvGrpSpPr>
        <p:grpSpPr>
          <a:xfrm>
            <a:off x="1563465" y="944855"/>
            <a:ext cx="291284" cy="296931"/>
            <a:chOff x="7812275" y="2926746"/>
            <a:chExt cx="3880361" cy="3955593"/>
          </a:xfrm>
          <a:solidFill>
            <a:schemeClr val="bg1">
              <a:alpha val="64000"/>
            </a:schemeClr>
          </a:solidFill>
        </p:grpSpPr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18BD5040-D9A3-704D-8F8F-1923F1F56E6B}"/>
                </a:ext>
              </a:extLst>
            </p:cNvPr>
            <p:cNvSpPr/>
            <p:nvPr/>
          </p:nvSpPr>
          <p:spPr>
            <a:xfrm>
              <a:off x="7812275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486706FA-4114-1A43-9B20-A4727093BBF4}"/>
                </a:ext>
              </a:extLst>
            </p:cNvPr>
            <p:cNvSpPr/>
            <p:nvPr/>
          </p:nvSpPr>
          <p:spPr>
            <a:xfrm>
              <a:off x="9179801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1AE01166-8421-854A-8ACB-87E4A37AE2AB}"/>
                </a:ext>
              </a:extLst>
            </p:cNvPr>
            <p:cNvSpPr/>
            <p:nvPr/>
          </p:nvSpPr>
          <p:spPr>
            <a:xfrm>
              <a:off x="10547327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E46D0A3E-436B-774B-A9EC-D35AD78516D5}"/>
                </a:ext>
              </a:extLst>
            </p:cNvPr>
            <p:cNvSpPr/>
            <p:nvPr/>
          </p:nvSpPr>
          <p:spPr>
            <a:xfrm>
              <a:off x="7812275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 130">
              <a:extLst>
                <a:ext uri="{FF2B5EF4-FFF2-40B4-BE49-F238E27FC236}">
                  <a16:creationId xmlns:a16="http://schemas.microsoft.com/office/drawing/2014/main" id="{ECDFD785-A22E-5A4F-B072-A6462E0B3A84}"/>
                </a:ext>
              </a:extLst>
            </p:cNvPr>
            <p:cNvSpPr/>
            <p:nvPr/>
          </p:nvSpPr>
          <p:spPr>
            <a:xfrm>
              <a:off x="9179801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 131">
              <a:extLst>
                <a:ext uri="{FF2B5EF4-FFF2-40B4-BE49-F238E27FC236}">
                  <a16:creationId xmlns:a16="http://schemas.microsoft.com/office/drawing/2014/main" id="{2054912E-3892-DD41-ACAB-9C828D4BB97C}"/>
                </a:ext>
              </a:extLst>
            </p:cNvPr>
            <p:cNvSpPr/>
            <p:nvPr/>
          </p:nvSpPr>
          <p:spPr>
            <a:xfrm>
              <a:off x="10547327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 132">
              <a:extLst>
                <a:ext uri="{FF2B5EF4-FFF2-40B4-BE49-F238E27FC236}">
                  <a16:creationId xmlns:a16="http://schemas.microsoft.com/office/drawing/2014/main" id="{39C2451E-E14A-8E4A-82D5-7B01521C462E}"/>
                </a:ext>
              </a:extLst>
            </p:cNvPr>
            <p:cNvSpPr/>
            <p:nvPr/>
          </p:nvSpPr>
          <p:spPr>
            <a:xfrm>
              <a:off x="7812275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 133">
              <a:extLst>
                <a:ext uri="{FF2B5EF4-FFF2-40B4-BE49-F238E27FC236}">
                  <a16:creationId xmlns:a16="http://schemas.microsoft.com/office/drawing/2014/main" id="{ABD3A0D5-E436-9F4B-962C-B40AB9F42402}"/>
                </a:ext>
              </a:extLst>
            </p:cNvPr>
            <p:cNvSpPr/>
            <p:nvPr/>
          </p:nvSpPr>
          <p:spPr>
            <a:xfrm>
              <a:off x="9179801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 134">
              <a:extLst>
                <a:ext uri="{FF2B5EF4-FFF2-40B4-BE49-F238E27FC236}">
                  <a16:creationId xmlns:a16="http://schemas.microsoft.com/office/drawing/2014/main" id="{A11A6C87-546C-8F4C-A406-6E976964DDD7}"/>
                </a:ext>
              </a:extLst>
            </p:cNvPr>
            <p:cNvSpPr/>
            <p:nvPr/>
          </p:nvSpPr>
          <p:spPr>
            <a:xfrm>
              <a:off x="10547327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7" name="Freeform 136">
            <a:extLst>
              <a:ext uri="{FF2B5EF4-FFF2-40B4-BE49-F238E27FC236}">
                <a16:creationId xmlns:a16="http://schemas.microsoft.com/office/drawing/2014/main" id="{35179DCD-C738-A94B-A7D2-06AD11198EC5}"/>
              </a:ext>
            </a:extLst>
          </p:cNvPr>
          <p:cNvSpPr/>
          <p:nvPr/>
        </p:nvSpPr>
        <p:spPr>
          <a:xfrm>
            <a:off x="1292712" y="1036634"/>
            <a:ext cx="99576" cy="99748"/>
          </a:xfrm>
          <a:custGeom>
            <a:avLst/>
            <a:gdLst>
              <a:gd name="connsiteX0" fmla="*/ 0 w 1326503"/>
              <a:gd name="connsiteY0" fmla="*/ 0 h 1328804"/>
              <a:gd name="connsiteX1" fmla="*/ 1326503 w 1326503"/>
              <a:gd name="connsiteY1" fmla="*/ 0 h 1328804"/>
              <a:gd name="connsiteX2" fmla="*/ 1326503 w 1326503"/>
              <a:gd name="connsiteY2" fmla="*/ 1328805 h 1328804"/>
              <a:gd name="connsiteX3" fmla="*/ 0 w 1326503"/>
              <a:gd name="connsiteY3" fmla="*/ 1328805 h 132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503" h="1328804">
                <a:moveTo>
                  <a:pt x="0" y="0"/>
                </a:moveTo>
                <a:lnTo>
                  <a:pt x="1326503" y="0"/>
                </a:lnTo>
                <a:lnTo>
                  <a:pt x="1326503" y="1328805"/>
                </a:lnTo>
                <a:lnTo>
                  <a:pt x="0" y="1328805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38" name="Freeform 137">
            <a:extLst>
              <a:ext uri="{FF2B5EF4-FFF2-40B4-BE49-F238E27FC236}">
                <a16:creationId xmlns:a16="http://schemas.microsoft.com/office/drawing/2014/main" id="{C8432FF6-52A7-2846-A8F7-FC292181C717}"/>
              </a:ext>
            </a:extLst>
          </p:cNvPr>
          <p:cNvSpPr/>
          <p:nvPr/>
        </p:nvSpPr>
        <p:spPr>
          <a:xfrm>
            <a:off x="1397420" y="1136383"/>
            <a:ext cx="99576" cy="99748"/>
          </a:xfrm>
          <a:custGeom>
            <a:avLst/>
            <a:gdLst>
              <a:gd name="connsiteX0" fmla="*/ 0 w 1326503"/>
              <a:gd name="connsiteY0" fmla="*/ 0 h 1328804"/>
              <a:gd name="connsiteX1" fmla="*/ 1326503 w 1326503"/>
              <a:gd name="connsiteY1" fmla="*/ 0 h 1328804"/>
              <a:gd name="connsiteX2" fmla="*/ 1326503 w 1326503"/>
              <a:gd name="connsiteY2" fmla="*/ 1328805 h 1328804"/>
              <a:gd name="connsiteX3" fmla="*/ 0 w 1326503"/>
              <a:gd name="connsiteY3" fmla="*/ 1328805 h 132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503" h="1328804">
                <a:moveTo>
                  <a:pt x="0" y="0"/>
                </a:moveTo>
                <a:lnTo>
                  <a:pt x="1326503" y="0"/>
                </a:lnTo>
                <a:lnTo>
                  <a:pt x="1326503" y="1328805"/>
                </a:lnTo>
                <a:lnTo>
                  <a:pt x="0" y="1328805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39" name="Freeform 138">
            <a:extLst>
              <a:ext uri="{FF2B5EF4-FFF2-40B4-BE49-F238E27FC236}">
                <a16:creationId xmlns:a16="http://schemas.microsoft.com/office/drawing/2014/main" id="{33B9A593-4F2E-D64D-BDEA-181F5781DE5A}"/>
              </a:ext>
            </a:extLst>
          </p:cNvPr>
          <p:cNvSpPr/>
          <p:nvPr/>
        </p:nvSpPr>
        <p:spPr>
          <a:xfrm>
            <a:off x="1417438" y="947426"/>
            <a:ext cx="71859" cy="71983"/>
          </a:xfrm>
          <a:custGeom>
            <a:avLst/>
            <a:gdLst>
              <a:gd name="connsiteX0" fmla="*/ 0 w 957270"/>
              <a:gd name="connsiteY0" fmla="*/ 0 h 958931"/>
              <a:gd name="connsiteX1" fmla="*/ 957270 w 957270"/>
              <a:gd name="connsiteY1" fmla="*/ 0 h 958931"/>
              <a:gd name="connsiteX2" fmla="*/ 957270 w 957270"/>
              <a:gd name="connsiteY2" fmla="*/ 958931 h 958931"/>
              <a:gd name="connsiteX3" fmla="*/ 0 w 957270"/>
              <a:gd name="connsiteY3" fmla="*/ 958931 h 95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270" h="958931">
                <a:moveTo>
                  <a:pt x="0" y="0"/>
                </a:moveTo>
                <a:lnTo>
                  <a:pt x="957270" y="0"/>
                </a:lnTo>
                <a:lnTo>
                  <a:pt x="957270" y="958931"/>
                </a:lnTo>
                <a:lnTo>
                  <a:pt x="0" y="958931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0" name="Freeform 139">
            <a:extLst>
              <a:ext uri="{FF2B5EF4-FFF2-40B4-BE49-F238E27FC236}">
                <a16:creationId xmlns:a16="http://schemas.microsoft.com/office/drawing/2014/main" id="{8C787F8F-676C-4E47-9D5D-A816CF58C220}"/>
              </a:ext>
            </a:extLst>
          </p:cNvPr>
          <p:cNvSpPr/>
          <p:nvPr/>
        </p:nvSpPr>
        <p:spPr>
          <a:xfrm>
            <a:off x="1203145" y="1162605"/>
            <a:ext cx="71859" cy="71983"/>
          </a:xfrm>
          <a:custGeom>
            <a:avLst/>
            <a:gdLst>
              <a:gd name="connsiteX0" fmla="*/ 0 w 957270"/>
              <a:gd name="connsiteY0" fmla="*/ 0 h 958931"/>
              <a:gd name="connsiteX1" fmla="*/ 957270 w 957270"/>
              <a:gd name="connsiteY1" fmla="*/ 0 h 958931"/>
              <a:gd name="connsiteX2" fmla="*/ 957270 w 957270"/>
              <a:gd name="connsiteY2" fmla="*/ 958931 h 958931"/>
              <a:gd name="connsiteX3" fmla="*/ 0 w 957270"/>
              <a:gd name="connsiteY3" fmla="*/ 958931 h 95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270" h="958931">
                <a:moveTo>
                  <a:pt x="0" y="0"/>
                </a:moveTo>
                <a:lnTo>
                  <a:pt x="957270" y="0"/>
                </a:lnTo>
                <a:lnTo>
                  <a:pt x="957270" y="958931"/>
                </a:lnTo>
                <a:lnTo>
                  <a:pt x="0" y="958931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1" name="Freeform 140">
            <a:extLst>
              <a:ext uri="{FF2B5EF4-FFF2-40B4-BE49-F238E27FC236}">
                <a16:creationId xmlns:a16="http://schemas.microsoft.com/office/drawing/2014/main" id="{4285A921-F02E-AB44-AEEB-D5D56E2D2147}"/>
              </a:ext>
            </a:extLst>
          </p:cNvPr>
          <p:cNvSpPr/>
          <p:nvPr/>
        </p:nvSpPr>
        <p:spPr>
          <a:xfrm>
            <a:off x="1203145" y="949997"/>
            <a:ext cx="53894" cy="53988"/>
          </a:xfrm>
          <a:custGeom>
            <a:avLst/>
            <a:gdLst>
              <a:gd name="connsiteX0" fmla="*/ 0 w 717952"/>
              <a:gd name="connsiteY0" fmla="*/ 0 h 719198"/>
              <a:gd name="connsiteX1" fmla="*/ 717953 w 717952"/>
              <a:gd name="connsiteY1" fmla="*/ 0 h 719198"/>
              <a:gd name="connsiteX2" fmla="*/ 717953 w 717952"/>
              <a:gd name="connsiteY2" fmla="*/ 719199 h 719198"/>
              <a:gd name="connsiteX3" fmla="*/ 0 w 717952"/>
              <a:gd name="connsiteY3" fmla="*/ 719199 h 71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952" h="719198">
                <a:moveTo>
                  <a:pt x="0" y="0"/>
                </a:moveTo>
                <a:lnTo>
                  <a:pt x="717953" y="0"/>
                </a:lnTo>
                <a:lnTo>
                  <a:pt x="717953" y="719199"/>
                </a:lnTo>
                <a:lnTo>
                  <a:pt x="0" y="719199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2" name="Freeform 141">
            <a:extLst>
              <a:ext uri="{FF2B5EF4-FFF2-40B4-BE49-F238E27FC236}">
                <a16:creationId xmlns:a16="http://schemas.microsoft.com/office/drawing/2014/main" id="{53251AD3-16FD-F54D-A012-96974B233FC8}"/>
              </a:ext>
            </a:extLst>
          </p:cNvPr>
          <p:cNvSpPr/>
          <p:nvPr/>
        </p:nvSpPr>
        <p:spPr>
          <a:xfrm>
            <a:off x="1344296" y="957709"/>
            <a:ext cx="53894" cy="53988"/>
          </a:xfrm>
          <a:custGeom>
            <a:avLst/>
            <a:gdLst>
              <a:gd name="connsiteX0" fmla="*/ 0 w 717952"/>
              <a:gd name="connsiteY0" fmla="*/ 0 h 719198"/>
              <a:gd name="connsiteX1" fmla="*/ 717953 w 717952"/>
              <a:gd name="connsiteY1" fmla="*/ 0 h 719198"/>
              <a:gd name="connsiteX2" fmla="*/ 717953 w 717952"/>
              <a:gd name="connsiteY2" fmla="*/ 719199 h 719198"/>
              <a:gd name="connsiteX3" fmla="*/ 0 w 717952"/>
              <a:gd name="connsiteY3" fmla="*/ 719199 h 71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952" h="719198">
                <a:moveTo>
                  <a:pt x="0" y="0"/>
                </a:moveTo>
                <a:lnTo>
                  <a:pt x="717953" y="0"/>
                </a:lnTo>
                <a:lnTo>
                  <a:pt x="717953" y="719199"/>
                </a:lnTo>
                <a:lnTo>
                  <a:pt x="0" y="719199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3" name="Freeform 142">
            <a:extLst>
              <a:ext uri="{FF2B5EF4-FFF2-40B4-BE49-F238E27FC236}">
                <a16:creationId xmlns:a16="http://schemas.microsoft.com/office/drawing/2014/main" id="{FE95D203-16E4-5345-BBD5-5CBB8957E32B}"/>
              </a:ext>
            </a:extLst>
          </p:cNvPr>
          <p:cNvSpPr/>
          <p:nvPr/>
        </p:nvSpPr>
        <p:spPr>
          <a:xfrm>
            <a:off x="1409739" y="1059515"/>
            <a:ext cx="58514" cy="58615"/>
          </a:xfrm>
          <a:custGeom>
            <a:avLst/>
            <a:gdLst>
              <a:gd name="connsiteX0" fmla="*/ 0 w 779491"/>
              <a:gd name="connsiteY0" fmla="*/ 0 h 780844"/>
              <a:gd name="connsiteX1" fmla="*/ 779492 w 779491"/>
              <a:gd name="connsiteY1" fmla="*/ 0 h 780844"/>
              <a:gd name="connsiteX2" fmla="*/ 779492 w 779491"/>
              <a:gd name="connsiteY2" fmla="*/ 780844 h 780844"/>
              <a:gd name="connsiteX3" fmla="*/ 0 w 779491"/>
              <a:gd name="connsiteY3" fmla="*/ 780844 h 78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491" h="780844">
                <a:moveTo>
                  <a:pt x="0" y="0"/>
                </a:moveTo>
                <a:lnTo>
                  <a:pt x="779492" y="0"/>
                </a:lnTo>
                <a:lnTo>
                  <a:pt x="779492" y="780844"/>
                </a:lnTo>
                <a:lnTo>
                  <a:pt x="0" y="78084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4" name="Freeform 143">
            <a:extLst>
              <a:ext uri="{FF2B5EF4-FFF2-40B4-BE49-F238E27FC236}">
                <a16:creationId xmlns:a16="http://schemas.microsoft.com/office/drawing/2014/main" id="{9A67F35D-C978-714A-91D8-0993C7A48710}"/>
              </a:ext>
            </a:extLst>
          </p:cNvPr>
          <p:cNvSpPr/>
          <p:nvPr/>
        </p:nvSpPr>
        <p:spPr>
          <a:xfrm>
            <a:off x="1297331" y="1152836"/>
            <a:ext cx="58514" cy="58615"/>
          </a:xfrm>
          <a:custGeom>
            <a:avLst/>
            <a:gdLst>
              <a:gd name="connsiteX0" fmla="*/ 0 w 779491"/>
              <a:gd name="connsiteY0" fmla="*/ 0 h 780844"/>
              <a:gd name="connsiteX1" fmla="*/ 779492 w 779491"/>
              <a:gd name="connsiteY1" fmla="*/ 0 h 780844"/>
              <a:gd name="connsiteX2" fmla="*/ 779492 w 779491"/>
              <a:gd name="connsiteY2" fmla="*/ 780844 h 780844"/>
              <a:gd name="connsiteX3" fmla="*/ 0 w 779491"/>
              <a:gd name="connsiteY3" fmla="*/ 780844 h 78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491" h="780844">
                <a:moveTo>
                  <a:pt x="0" y="0"/>
                </a:moveTo>
                <a:lnTo>
                  <a:pt x="779492" y="0"/>
                </a:lnTo>
                <a:lnTo>
                  <a:pt x="779492" y="780844"/>
                </a:lnTo>
                <a:lnTo>
                  <a:pt x="0" y="78084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5" name="Freeform 144">
            <a:extLst>
              <a:ext uri="{FF2B5EF4-FFF2-40B4-BE49-F238E27FC236}">
                <a16:creationId xmlns:a16="http://schemas.microsoft.com/office/drawing/2014/main" id="{DE95C6C6-C05E-6A4F-BC5A-33CD38B6435C}"/>
              </a:ext>
            </a:extLst>
          </p:cNvPr>
          <p:cNvSpPr/>
          <p:nvPr/>
        </p:nvSpPr>
        <p:spPr>
          <a:xfrm>
            <a:off x="1225986" y="1064913"/>
            <a:ext cx="42859" cy="42933"/>
          </a:xfrm>
          <a:custGeom>
            <a:avLst/>
            <a:gdLst>
              <a:gd name="connsiteX0" fmla="*/ 0 w 570943"/>
              <a:gd name="connsiteY0" fmla="*/ 0 h 571934"/>
              <a:gd name="connsiteX1" fmla="*/ 570943 w 570943"/>
              <a:gd name="connsiteY1" fmla="*/ 0 h 571934"/>
              <a:gd name="connsiteX2" fmla="*/ 570943 w 570943"/>
              <a:gd name="connsiteY2" fmla="*/ 571934 h 571934"/>
              <a:gd name="connsiteX3" fmla="*/ 0 w 570943"/>
              <a:gd name="connsiteY3" fmla="*/ 571934 h 57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943" h="571934">
                <a:moveTo>
                  <a:pt x="0" y="0"/>
                </a:moveTo>
                <a:lnTo>
                  <a:pt x="570943" y="0"/>
                </a:lnTo>
                <a:lnTo>
                  <a:pt x="570943" y="571934"/>
                </a:lnTo>
                <a:lnTo>
                  <a:pt x="0" y="57193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6" name="Freeform 145">
            <a:extLst>
              <a:ext uri="{FF2B5EF4-FFF2-40B4-BE49-F238E27FC236}">
                <a16:creationId xmlns:a16="http://schemas.microsoft.com/office/drawing/2014/main" id="{25715F42-A331-F04E-BC28-451E68835BA0}"/>
              </a:ext>
            </a:extLst>
          </p:cNvPr>
          <p:cNvSpPr/>
          <p:nvPr/>
        </p:nvSpPr>
        <p:spPr>
          <a:xfrm>
            <a:off x="1276030" y="982389"/>
            <a:ext cx="42859" cy="42933"/>
          </a:xfrm>
          <a:custGeom>
            <a:avLst/>
            <a:gdLst>
              <a:gd name="connsiteX0" fmla="*/ 0 w 570943"/>
              <a:gd name="connsiteY0" fmla="*/ 0 h 571934"/>
              <a:gd name="connsiteX1" fmla="*/ 570943 w 570943"/>
              <a:gd name="connsiteY1" fmla="*/ 0 h 571934"/>
              <a:gd name="connsiteX2" fmla="*/ 570943 w 570943"/>
              <a:gd name="connsiteY2" fmla="*/ 571934 h 571934"/>
              <a:gd name="connsiteX3" fmla="*/ 0 w 570943"/>
              <a:gd name="connsiteY3" fmla="*/ 571934 h 57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943" h="571934">
                <a:moveTo>
                  <a:pt x="0" y="0"/>
                </a:moveTo>
                <a:lnTo>
                  <a:pt x="570943" y="0"/>
                </a:lnTo>
                <a:lnTo>
                  <a:pt x="570943" y="571934"/>
                </a:lnTo>
                <a:lnTo>
                  <a:pt x="0" y="57193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7" name="Freeform 146">
            <a:extLst>
              <a:ext uri="{FF2B5EF4-FFF2-40B4-BE49-F238E27FC236}">
                <a16:creationId xmlns:a16="http://schemas.microsoft.com/office/drawing/2014/main" id="{A3C597B9-2901-284E-B738-7BA888DE8940}"/>
              </a:ext>
            </a:extLst>
          </p:cNvPr>
          <p:cNvSpPr/>
          <p:nvPr/>
        </p:nvSpPr>
        <p:spPr>
          <a:xfrm>
            <a:off x="1525482" y="903722"/>
            <a:ext cx="10265" cy="379198"/>
          </a:xfrm>
          <a:custGeom>
            <a:avLst/>
            <a:gdLst>
              <a:gd name="connsiteX0" fmla="*/ 0 w 136752"/>
              <a:gd name="connsiteY0" fmla="*/ 0 h 5051513"/>
              <a:gd name="connsiteX1" fmla="*/ 136753 w 136752"/>
              <a:gd name="connsiteY1" fmla="*/ 0 h 5051513"/>
              <a:gd name="connsiteX2" fmla="*/ 136753 w 136752"/>
              <a:gd name="connsiteY2" fmla="*/ 5051513 h 5051513"/>
              <a:gd name="connsiteX3" fmla="*/ 0 w 136752"/>
              <a:gd name="connsiteY3" fmla="*/ 5051513 h 5051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752" h="5051513">
                <a:moveTo>
                  <a:pt x="0" y="0"/>
                </a:moveTo>
                <a:lnTo>
                  <a:pt x="136753" y="0"/>
                </a:lnTo>
                <a:lnTo>
                  <a:pt x="136753" y="5051513"/>
                </a:lnTo>
                <a:lnTo>
                  <a:pt x="0" y="5051513"/>
                </a:lnTo>
                <a:close/>
              </a:path>
            </a:pathLst>
          </a:custGeom>
          <a:solidFill>
            <a:srgbClr val="6C8DBD">
              <a:alpha val="64000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48" name="Graphic 122">
            <a:extLst>
              <a:ext uri="{FF2B5EF4-FFF2-40B4-BE49-F238E27FC236}">
                <a16:creationId xmlns:a16="http://schemas.microsoft.com/office/drawing/2014/main" id="{BC8B2B37-B07F-9248-A69D-747BC3D594F6}"/>
              </a:ext>
            </a:extLst>
          </p:cNvPr>
          <p:cNvGrpSpPr/>
          <p:nvPr userDrawn="1"/>
        </p:nvGrpSpPr>
        <p:grpSpPr>
          <a:xfrm>
            <a:off x="1937643" y="982904"/>
            <a:ext cx="746559" cy="219549"/>
            <a:chOff x="12796915" y="3433612"/>
            <a:chExt cx="9945355" cy="2924740"/>
          </a:xfrm>
          <a:solidFill>
            <a:schemeClr val="bg1">
              <a:alpha val="64000"/>
            </a:schemeClr>
          </a:solidFill>
        </p:grpSpPr>
        <p:sp>
          <p:nvSpPr>
            <p:cNvPr id="149" name="Freeform 148">
              <a:extLst>
                <a:ext uri="{FF2B5EF4-FFF2-40B4-BE49-F238E27FC236}">
                  <a16:creationId xmlns:a16="http://schemas.microsoft.com/office/drawing/2014/main" id="{DEB586AE-D533-1348-B0D1-D8824F368E91}"/>
                </a:ext>
              </a:extLst>
            </p:cNvPr>
            <p:cNvSpPr/>
            <p:nvPr/>
          </p:nvSpPr>
          <p:spPr>
            <a:xfrm>
              <a:off x="12796915" y="3433612"/>
              <a:ext cx="1996587" cy="2924740"/>
            </a:xfrm>
            <a:custGeom>
              <a:avLst/>
              <a:gdLst>
                <a:gd name="connsiteX0" fmla="*/ 588037 w 1996592"/>
                <a:gd name="connsiteY0" fmla="*/ 2554867 h 2924740"/>
                <a:gd name="connsiteX1" fmla="*/ 1005134 w 1996592"/>
                <a:gd name="connsiteY1" fmla="*/ 2681583 h 2924740"/>
                <a:gd name="connsiteX2" fmla="*/ 1408554 w 1996592"/>
                <a:gd name="connsiteY2" fmla="*/ 2328833 h 2924740"/>
                <a:gd name="connsiteX3" fmla="*/ 858124 w 1996592"/>
                <a:gd name="connsiteY3" fmla="*/ 1732926 h 2924740"/>
                <a:gd name="connsiteX4" fmla="*/ 136753 w 1996592"/>
                <a:gd name="connsiteY4" fmla="*/ 821941 h 2924740"/>
                <a:gd name="connsiteX5" fmla="*/ 1107698 w 1996592"/>
                <a:gd name="connsiteY5" fmla="*/ 0 h 2924740"/>
                <a:gd name="connsiteX6" fmla="*/ 1907703 w 1996592"/>
                <a:gd name="connsiteY6" fmla="*/ 85619 h 2924740"/>
                <a:gd name="connsiteX7" fmla="*/ 1832488 w 1996592"/>
                <a:gd name="connsiteY7" fmla="*/ 784269 h 2924740"/>
                <a:gd name="connsiteX8" fmla="*/ 1623941 w 1996592"/>
                <a:gd name="connsiteY8" fmla="*/ 787694 h 2924740"/>
                <a:gd name="connsiteX9" fmla="*/ 1422229 w 1996592"/>
                <a:gd name="connsiteY9" fmla="*/ 318502 h 2924740"/>
                <a:gd name="connsiteX10" fmla="*/ 1073510 w 1996592"/>
                <a:gd name="connsiteY10" fmla="*/ 215760 h 2924740"/>
                <a:gd name="connsiteX11" fmla="*/ 683765 w 1996592"/>
                <a:gd name="connsiteY11" fmla="*/ 599332 h 2924740"/>
                <a:gd name="connsiteX12" fmla="*/ 981201 w 1996592"/>
                <a:gd name="connsiteY12" fmla="*/ 1030851 h 2924740"/>
                <a:gd name="connsiteX13" fmla="*/ 1531632 w 1996592"/>
                <a:gd name="connsiteY13" fmla="*/ 1339079 h 2924740"/>
                <a:gd name="connsiteX14" fmla="*/ 1996592 w 1996592"/>
                <a:gd name="connsiteY14" fmla="*/ 2048003 h 2924740"/>
                <a:gd name="connsiteX15" fmla="*/ 899150 w 1996592"/>
                <a:gd name="connsiteY15" fmla="*/ 2924741 h 2924740"/>
                <a:gd name="connsiteX16" fmla="*/ 167522 w 1996592"/>
                <a:gd name="connsiteY16" fmla="*/ 2770627 h 2924740"/>
                <a:gd name="connsiteX17" fmla="*/ 0 w 1996592"/>
                <a:gd name="connsiteY17" fmla="*/ 2010331 h 2924740"/>
                <a:gd name="connsiteX18" fmla="*/ 211966 w 1996592"/>
                <a:gd name="connsiteY18" fmla="*/ 1941836 h 2924740"/>
                <a:gd name="connsiteX19" fmla="*/ 588037 w 1996592"/>
                <a:gd name="connsiteY19" fmla="*/ 2554867 h 29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592" h="2924740">
                  <a:moveTo>
                    <a:pt x="588037" y="2554867"/>
                  </a:moveTo>
                  <a:cubicBezTo>
                    <a:pt x="704277" y="2640486"/>
                    <a:pt x="882056" y="2681583"/>
                    <a:pt x="1005134" y="2681583"/>
                  </a:cubicBezTo>
                  <a:cubicBezTo>
                    <a:pt x="1193169" y="2681583"/>
                    <a:pt x="1408554" y="2582265"/>
                    <a:pt x="1408554" y="2328833"/>
                  </a:cubicBezTo>
                  <a:cubicBezTo>
                    <a:pt x="1408554" y="2119923"/>
                    <a:pt x="1319665" y="2000057"/>
                    <a:pt x="858124" y="1732926"/>
                  </a:cubicBezTo>
                  <a:cubicBezTo>
                    <a:pt x="509404" y="1537715"/>
                    <a:pt x="136753" y="1328805"/>
                    <a:pt x="136753" y="821941"/>
                  </a:cubicBezTo>
                  <a:cubicBezTo>
                    <a:pt x="136753" y="287679"/>
                    <a:pt x="581200" y="0"/>
                    <a:pt x="1107698" y="0"/>
                  </a:cubicBezTo>
                  <a:cubicBezTo>
                    <a:pt x="1473512" y="0"/>
                    <a:pt x="1658129" y="65070"/>
                    <a:pt x="1907703" y="85619"/>
                  </a:cubicBezTo>
                  <a:cubicBezTo>
                    <a:pt x="1870095" y="253432"/>
                    <a:pt x="1846164" y="517138"/>
                    <a:pt x="1832488" y="784269"/>
                  </a:cubicBezTo>
                  <a:cubicBezTo>
                    <a:pt x="1805138" y="811667"/>
                    <a:pt x="1647872" y="811667"/>
                    <a:pt x="1623941" y="787694"/>
                  </a:cubicBezTo>
                  <a:cubicBezTo>
                    <a:pt x="1579495" y="523987"/>
                    <a:pt x="1514538" y="393847"/>
                    <a:pt x="1422229" y="318502"/>
                  </a:cubicBezTo>
                  <a:cubicBezTo>
                    <a:pt x="1333341" y="246582"/>
                    <a:pt x="1213682" y="215760"/>
                    <a:pt x="1073510" y="215760"/>
                  </a:cubicBezTo>
                  <a:cubicBezTo>
                    <a:pt x="830773" y="215760"/>
                    <a:pt x="683765" y="404121"/>
                    <a:pt x="683765" y="599332"/>
                  </a:cubicBezTo>
                  <a:cubicBezTo>
                    <a:pt x="683765" y="808242"/>
                    <a:pt x="786329" y="910985"/>
                    <a:pt x="981201" y="1030851"/>
                  </a:cubicBezTo>
                  <a:cubicBezTo>
                    <a:pt x="1179494" y="1143868"/>
                    <a:pt x="1336759" y="1226062"/>
                    <a:pt x="1531632" y="1339079"/>
                  </a:cubicBezTo>
                  <a:cubicBezTo>
                    <a:pt x="1842745" y="1520591"/>
                    <a:pt x="1996592" y="1708953"/>
                    <a:pt x="1996592" y="2048003"/>
                  </a:cubicBezTo>
                  <a:cubicBezTo>
                    <a:pt x="1996592" y="2510345"/>
                    <a:pt x="1617103" y="2924741"/>
                    <a:pt x="899150" y="2924741"/>
                  </a:cubicBezTo>
                  <a:cubicBezTo>
                    <a:pt x="574362" y="2924741"/>
                    <a:pt x="297437" y="2835697"/>
                    <a:pt x="167522" y="2770627"/>
                  </a:cubicBezTo>
                  <a:cubicBezTo>
                    <a:pt x="116240" y="2705556"/>
                    <a:pt x="3418" y="2181569"/>
                    <a:pt x="0" y="2010331"/>
                  </a:cubicBezTo>
                  <a:cubicBezTo>
                    <a:pt x="17094" y="1972659"/>
                    <a:pt x="177778" y="1928137"/>
                    <a:pt x="211966" y="1941836"/>
                  </a:cubicBezTo>
                  <a:cubicBezTo>
                    <a:pt x="307694" y="2226091"/>
                    <a:pt x="427353" y="2428151"/>
                    <a:pt x="588037" y="255486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A931BF6F-2A9D-814C-9FC5-E069B4833FA6}"/>
                </a:ext>
              </a:extLst>
            </p:cNvPr>
            <p:cNvSpPr/>
            <p:nvPr/>
          </p:nvSpPr>
          <p:spPr>
            <a:xfrm>
              <a:off x="16378705" y="3498688"/>
              <a:ext cx="2640473" cy="2808296"/>
            </a:xfrm>
            <a:custGeom>
              <a:avLst/>
              <a:gdLst>
                <a:gd name="connsiteX0" fmla="*/ 83187 w 2640466"/>
                <a:gd name="connsiteY0" fmla="*/ 0 h 2808298"/>
                <a:gd name="connsiteX1" fmla="*/ 725926 w 2640466"/>
                <a:gd name="connsiteY1" fmla="*/ 13699 h 2808298"/>
                <a:gd name="connsiteX2" fmla="*/ 1536186 w 2640466"/>
                <a:gd name="connsiteY2" fmla="*/ 3425 h 2808298"/>
                <a:gd name="connsiteX3" fmla="*/ 2438755 w 2640466"/>
                <a:gd name="connsiteY3" fmla="*/ 626730 h 2808298"/>
                <a:gd name="connsiteX4" fmla="*/ 1990890 w 2640466"/>
                <a:gd name="connsiteY4" fmla="*/ 1188390 h 2808298"/>
                <a:gd name="connsiteX5" fmla="*/ 1990890 w 2640466"/>
                <a:gd name="connsiteY5" fmla="*/ 1215788 h 2808298"/>
                <a:gd name="connsiteX6" fmla="*/ 2640467 w 2640466"/>
                <a:gd name="connsiteY6" fmla="*/ 1890465 h 2808298"/>
                <a:gd name="connsiteX7" fmla="*/ 2059267 w 2640466"/>
                <a:gd name="connsiteY7" fmla="*/ 2678158 h 2808298"/>
                <a:gd name="connsiteX8" fmla="*/ 1272937 w 2640466"/>
                <a:gd name="connsiteY8" fmla="*/ 2808299 h 2808298"/>
                <a:gd name="connsiteX9" fmla="*/ 25067 w 2640466"/>
                <a:gd name="connsiteY9" fmla="*/ 2784326 h 2808298"/>
                <a:gd name="connsiteX10" fmla="*/ 21648 w 2640466"/>
                <a:gd name="connsiteY10" fmla="*/ 2582265 h 2808298"/>
                <a:gd name="connsiteX11" fmla="*/ 346436 w 2640466"/>
                <a:gd name="connsiteY11" fmla="*/ 2524044 h 2808298"/>
                <a:gd name="connsiteX12" fmla="*/ 469514 w 2640466"/>
                <a:gd name="connsiteY12" fmla="*/ 2308285 h 2808298"/>
                <a:gd name="connsiteX13" fmla="*/ 479770 w 2640466"/>
                <a:gd name="connsiteY13" fmla="*/ 1366477 h 2808298"/>
                <a:gd name="connsiteX14" fmla="*/ 469514 w 2640466"/>
                <a:gd name="connsiteY14" fmla="*/ 448643 h 2808298"/>
                <a:gd name="connsiteX15" fmla="*/ 343017 w 2640466"/>
                <a:gd name="connsiteY15" fmla="*/ 253432 h 2808298"/>
                <a:gd name="connsiteX16" fmla="*/ 79767 w 2640466"/>
                <a:gd name="connsiteY16" fmla="*/ 208910 h 2808298"/>
                <a:gd name="connsiteX17" fmla="*/ 83187 w 2640466"/>
                <a:gd name="connsiteY17" fmla="*/ 0 h 2808298"/>
                <a:gd name="connsiteX18" fmla="*/ 1990890 w 2640466"/>
                <a:gd name="connsiteY18" fmla="*/ 2003481 h 2808298"/>
                <a:gd name="connsiteX19" fmla="*/ 1269518 w 2640466"/>
                <a:gd name="connsiteY19" fmla="*/ 1407574 h 2808298"/>
                <a:gd name="connsiteX20" fmla="*/ 1101996 w 2640466"/>
                <a:gd name="connsiteY20" fmla="*/ 1410999 h 2808298"/>
                <a:gd name="connsiteX21" fmla="*/ 1078064 w 2640466"/>
                <a:gd name="connsiteY21" fmla="*/ 1438397 h 2808298"/>
                <a:gd name="connsiteX22" fmla="*/ 1088320 w 2640466"/>
                <a:gd name="connsiteY22" fmla="*/ 2325409 h 2808298"/>
                <a:gd name="connsiteX23" fmla="*/ 1184048 w 2640466"/>
                <a:gd name="connsiteY23" fmla="*/ 2496646 h 2808298"/>
                <a:gd name="connsiteX24" fmla="*/ 1491742 w 2640466"/>
                <a:gd name="connsiteY24" fmla="*/ 2578840 h 2808298"/>
                <a:gd name="connsiteX25" fmla="*/ 1990890 w 2640466"/>
                <a:gd name="connsiteY25" fmla="*/ 2003481 h 2808298"/>
                <a:gd name="connsiteX26" fmla="*/ 1122508 w 2640466"/>
                <a:gd name="connsiteY26" fmla="*/ 250007 h 2808298"/>
                <a:gd name="connsiteX27" fmla="*/ 1084902 w 2640466"/>
                <a:gd name="connsiteY27" fmla="*/ 315077 h 2808298"/>
                <a:gd name="connsiteX28" fmla="*/ 1074645 w 2640466"/>
                <a:gd name="connsiteY28" fmla="*/ 1137019 h 2808298"/>
                <a:gd name="connsiteX29" fmla="*/ 1101996 w 2640466"/>
                <a:gd name="connsiteY29" fmla="*/ 1164417 h 2808298"/>
                <a:gd name="connsiteX30" fmla="*/ 1331057 w 2640466"/>
                <a:gd name="connsiteY30" fmla="*/ 1167842 h 2808298"/>
                <a:gd name="connsiteX31" fmla="*/ 1679777 w 2640466"/>
                <a:gd name="connsiteY31" fmla="*/ 1126744 h 2808298"/>
                <a:gd name="connsiteX32" fmla="*/ 1850718 w 2640466"/>
                <a:gd name="connsiteY32" fmla="*/ 763720 h 2808298"/>
                <a:gd name="connsiteX33" fmla="*/ 1249005 w 2640466"/>
                <a:gd name="connsiteY33" fmla="*/ 232883 h 2808298"/>
                <a:gd name="connsiteX34" fmla="*/ 1122508 w 2640466"/>
                <a:gd name="connsiteY34" fmla="*/ 250007 h 280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640466" h="2808298">
                  <a:moveTo>
                    <a:pt x="83187" y="0"/>
                  </a:moveTo>
                  <a:cubicBezTo>
                    <a:pt x="144726" y="0"/>
                    <a:pt x="339598" y="13699"/>
                    <a:pt x="725926" y="13699"/>
                  </a:cubicBezTo>
                  <a:cubicBezTo>
                    <a:pt x="1067808" y="13699"/>
                    <a:pt x="1361826" y="3425"/>
                    <a:pt x="1536186" y="3425"/>
                  </a:cubicBezTo>
                  <a:cubicBezTo>
                    <a:pt x="2001146" y="3425"/>
                    <a:pt x="2438755" y="116442"/>
                    <a:pt x="2438755" y="626730"/>
                  </a:cubicBezTo>
                  <a:cubicBezTo>
                    <a:pt x="2438755" y="883587"/>
                    <a:pt x="2250720" y="1095921"/>
                    <a:pt x="1990890" y="1188390"/>
                  </a:cubicBezTo>
                  <a:cubicBezTo>
                    <a:pt x="1980633" y="1191815"/>
                    <a:pt x="1980633" y="1212363"/>
                    <a:pt x="1990890" y="1215788"/>
                  </a:cubicBezTo>
                  <a:cubicBezTo>
                    <a:pt x="2343029" y="1311681"/>
                    <a:pt x="2640467" y="1493193"/>
                    <a:pt x="2640467" y="1890465"/>
                  </a:cubicBezTo>
                  <a:cubicBezTo>
                    <a:pt x="2640467" y="2260338"/>
                    <a:pt x="2431918" y="2513770"/>
                    <a:pt x="2059267" y="2678158"/>
                  </a:cubicBezTo>
                  <a:cubicBezTo>
                    <a:pt x="1850718" y="2767202"/>
                    <a:pt x="1543024" y="2808299"/>
                    <a:pt x="1272937" y="2808299"/>
                  </a:cubicBezTo>
                  <a:cubicBezTo>
                    <a:pt x="1071226" y="2808299"/>
                    <a:pt x="332761" y="2784326"/>
                    <a:pt x="25067" y="2784326"/>
                  </a:cubicBezTo>
                  <a:cubicBezTo>
                    <a:pt x="-2284" y="2756928"/>
                    <a:pt x="-12540" y="2602814"/>
                    <a:pt x="21648" y="2582265"/>
                  </a:cubicBezTo>
                  <a:cubicBezTo>
                    <a:pt x="151563" y="2565141"/>
                    <a:pt x="271222" y="2551442"/>
                    <a:pt x="346436" y="2524044"/>
                  </a:cubicBezTo>
                  <a:cubicBezTo>
                    <a:pt x="428488" y="2496646"/>
                    <a:pt x="455838" y="2448700"/>
                    <a:pt x="469514" y="2308285"/>
                  </a:cubicBezTo>
                  <a:cubicBezTo>
                    <a:pt x="479770" y="2184994"/>
                    <a:pt x="479770" y="1702103"/>
                    <a:pt x="479770" y="1366477"/>
                  </a:cubicBezTo>
                  <a:cubicBezTo>
                    <a:pt x="479770" y="887011"/>
                    <a:pt x="479770" y="674677"/>
                    <a:pt x="469514" y="448643"/>
                  </a:cubicBezTo>
                  <a:cubicBezTo>
                    <a:pt x="466095" y="335626"/>
                    <a:pt x="438744" y="280830"/>
                    <a:pt x="343017" y="253432"/>
                  </a:cubicBezTo>
                  <a:cubicBezTo>
                    <a:pt x="260966" y="229459"/>
                    <a:pt x="148144" y="212335"/>
                    <a:pt x="79767" y="208910"/>
                  </a:cubicBezTo>
                  <a:cubicBezTo>
                    <a:pt x="55836" y="178087"/>
                    <a:pt x="59255" y="20548"/>
                    <a:pt x="83187" y="0"/>
                  </a:cubicBezTo>
                  <a:close/>
                  <a:moveTo>
                    <a:pt x="1990890" y="2003481"/>
                  </a:moveTo>
                  <a:cubicBezTo>
                    <a:pt x="1990890" y="1623334"/>
                    <a:pt x="1741316" y="1407574"/>
                    <a:pt x="1269518" y="1407574"/>
                  </a:cubicBezTo>
                  <a:cubicBezTo>
                    <a:pt x="1255843" y="1407574"/>
                    <a:pt x="1146441" y="1407574"/>
                    <a:pt x="1101996" y="1410999"/>
                  </a:cubicBezTo>
                  <a:cubicBezTo>
                    <a:pt x="1091739" y="1410999"/>
                    <a:pt x="1078064" y="1421273"/>
                    <a:pt x="1078064" y="1438397"/>
                  </a:cubicBezTo>
                  <a:cubicBezTo>
                    <a:pt x="1078064" y="1753475"/>
                    <a:pt x="1074645" y="2147321"/>
                    <a:pt x="1088320" y="2325409"/>
                  </a:cubicBezTo>
                  <a:cubicBezTo>
                    <a:pt x="1091739" y="2390479"/>
                    <a:pt x="1139603" y="2465823"/>
                    <a:pt x="1184048" y="2496646"/>
                  </a:cubicBezTo>
                  <a:cubicBezTo>
                    <a:pt x="1255843" y="2561717"/>
                    <a:pt x="1413108" y="2578840"/>
                    <a:pt x="1491742" y="2578840"/>
                  </a:cubicBezTo>
                  <a:cubicBezTo>
                    <a:pt x="1768667" y="2575416"/>
                    <a:pt x="1990890" y="2390479"/>
                    <a:pt x="1990890" y="2003481"/>
                  </a:cubicBezTo>
                  <a:close/>
                  <a:moveTo>
                    <a:pt x="1122508" y="250007"/>
                  </a:moveTo>
                  <a:cubicBezTo>
                    <a:pt x="1108833" y="253432"/>
                    <a:pt x="1091739" y="291104"/>
                    <a:pt x="1084902" y="315077"/>
                  </a:cubicBezTo>
                  <a:cubicBezTo>
                    <a:pt x="1074645" y="397272"/>
                    <a:pt x="1074645" y="863038"/>
                    <a:pt x="1074645" y="1137019"/>
                  </a:cubicBezTo>
                  <a:cubicBezTo>
                    <a:pt x="1074645" y="1150718"/>
                    <a:pt x="1091739" y="1164417"/>
                    <a:pt x="1101996" y="1164417"/>
                  </a:cubicBezTo>
                  <a:cubicBezTo>
                    <a:pt x="1146441" y="1167842"/>
                    <a:pt x="1225073" y="1167842"/>
                    <a:pt x="1331057" y="1167842"/>
                  </a:cubicBezTo>
                  <a:cubicBezTo>
                    <a:pt x="1501998" y="1167842"/>
                    <a:pt x="1628495" y="1154142"/>
                    <a:pt x="1679777" y="1126744"/>
                  </a:cubicBezTo>
                  <a:cubicBezTo>
                    <a:pt x="1789179" y="1061674"/>
                    <a:pt x="1850718" y="928109"/>
                    <a:pt x="1850718" y="763720"/>
                  </a:cubicBezTo>
                  <a:cubicBezTo>
                    <a:pt x="1850718" y="434944"/>
                    <a:pt x="1652426" y="232883"/>
                    <a:pt x="1249005" y="232883"/>
                  </a:cubicBezTo>
                  <a:cubicBezTo>
                    <a:pt x="1225073" y="236308"/>
                    <a:pt x="1173791" y="239733"/>
                    <a:pt x="1122508" y="25000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853D6E94-E89E-5B46-9637-094BCCB61113}"/>
                </a:ext>
              </a:extLst>
            </p:cNvPr>
            <p:cNvSpPr/>
            <p:nvPr/>
          </p:nvSpPr>
          <p:spPr>
            <a:xfrm>
              <a:off x="20745683" y="3433612"/>
              <a:ext cx="1996587" cy="2924740"/>
            </a:xfrm>
            <a:custGeom>
              <a:avLst/>
              <a:gdLst>
                <a:gd name="connsiteX0" fmla="*/ 588038 w 1996591"/>
                <a:gd name="connsiteY0" fmla="*/ 2554867 h 2924740"/>
                <a:gd name="connsiteX1" fmla="*/ 1005133 w 1996591"/>
                <a:gd name="connsiteY1" fmla="*/ 2681583 h 2924740"/>
                <a:gd name="connsiteX2" fmla="*/ 1408555 w 1996591"/>
                <a:gd name="connsiteY2" fmla="*/ 2328833 h 2924740"/>
                <a:gd name="connsiteX3" fmla="*/ 858124 w 1996591"/>
                <a:gd name="connsiteY3" fmla="*/ 1732926 h 2924740"/>
                <a:gd name="connsiteX4" fmla="*/ 136753 w 1996591"/>
                <a:gd name="connsiteY4" fmla="*/ 821941 h 2924740"/>
                <a:gd name="connsiteX5" fmla="*/ 1107697 w 1996591"/>
                <a:gd name="connsiteY5" fmla="*/ 0 h 2924740"/>
                <a:gd name="connsiteX6" fmla="*/ 1907703 w 1996591"/>
                <a:gd name="connsiteY6" fmla="*/ 85619 h 2924740"/>
                <a:gd name="connsiteX7" fmla="*/ 1832488 w 1996591"/>
                <a:gd name="connsiteY7" fmla="*/ 784269 h 2924740"/>
                <a:gd name="connsiteX8" fmla="*/ 1623941 w 1996591"/>
                <a:gd name="connsiteY8" fmla="*/ 787694 h 2924740"/>
                <a:gd name="connsiteX9" fmla="*/ 1422229 w 1996591"/>
                <a:gd name="connsiteY9" fmla="*/ 318502 h 2924740"/>
                <a:gd name="connsiteX10" fmla="*/ 1073509 w 1996591"/>
                <a:gd name="connsiteY10" fmla="*/ 215760 h 2924740"/>
                <a:gd name="connsiteX11" fmla="*/ 683765 w 1996591"/>
                <a:gd name="connsiteY11" fmla="*/ 599332 h 2924740"/>
                <a:gd name="connsiteX12" fmla="*/ 981203 w 1996591"/>
                <a:gd name="connsiteY12" fmla="*/ 1030851 h 2924740"/>
                <a:gd name="connsiteX13" fmla="*/ 1531632 w 1996591"/>
                <a:gd name="connsiteY13" fmla="*/ 1339079 h 2924740"/>
                <a:gd name="connsiteX14" fmla="*/ 1996591 w 1996591"/>
                <a:gd name="connsiteY14" fmla="*/ 2048003 h 2924740"/>
                <a:gd name="connsiteX15" fmla="*/ 899150 w 1996591"/>
                <a:gd name="connsiteY15" fmla="*/ 2924741 h 2924740"/>
                <a:gd name="connsiteX16" fmla="*/ 167521 w 1996591"/>
                <a:gd name="connsiteY16" fmla="*/ 2770627 h 2924740"/>
                <a:gd name="connsiteX17" fmla="*/ 0 w 1996591"/>
                <a:gd name="connsiteY17" fmla="*/ 2010331 h 2924740"/>
                <a:gd name="connsiteX18" fmla="*/ 211967 w 1996591"/>
                <a:gd name="connsiteY18" fmla="*/ 1941836 h 2924740"/>
                <a:gd name="connsiteX19" fmla="*/ 588038 w 1996591"/>
                <a:gd name="connsiteY19" fmla="*/ 2554867 h 29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591" h="2924740">
                  <a:moveTo>
                    <a:pt x="588038" y="2554867"/>
                  </a:moveTo>
                  <a:cubicBezTo>
                    <a:pt x="704277" y="2640486"/>
                    <a:pt x="882056" y="2681583"/>
                    <a:pt x="1005133" y="2681583"/>
                  </a:cubicBezTo>
                  <a:cubicBezTo>
                    <a:pt x="1196588" y="2681583"/>
                    <a:pt x="1408555" y="2582265"/>
                    <a:pt x="1408555" y="2328833"/>
                  </a:cubicBezTo>
                  <a:cubicBezTo>
                    <a:pt x="1408555" y="2119923"/>
                    <a:pt x="1319665" y="2000057"/>
                    <a:pt x="858124" y="1732926"/>
                  </a:cubicBezTo>
                  <a:cubicBezTo>
                    <a:pt x="509403" y="1537715"/>
                    <a:pt x="136753" y="1328805"/>
                    <a:pt x="136753" y="821941"/>
                  </a:cubicBezTo>
                  <a:cubicBezTo>
                    <a:pt x="136753" y="287679"/>
                    <a:pt x="581200" y="0"/>
                    <a:pt x="1107697" y="0"/>
                  </a:cubicBezTo>
                  <a:cubicBezTo>
                    <a:pt x="1473512" y="0"/>
                    <a:pt x="1658129" y="65070"/>
                    <a:pt x="1907703" y="85619"/>
                  </a:cubicBezTo>
                  <a:cubicBezTo>
                    <a:pt x="1870096" y="253432"/>
                    <a:pt x="1842744" y="517138"/>
                    <a:pt x="1832488" y="784269"/>
                  </a:cubicBezTo>
                  <a:cubicBezTo>
                    <a:pt x="1805138" y="811667"/>
                    <a:pt x="1647873" y="811667"/>
                    <a:pt x="1623941" y="787694"/>
                  </a:cubicBezTo>
                  <a:cubicBezTo>
                    <a:pt x="1579496" y="523987"/>
                    <a:pt x="1514538" y="393847"/>
                    <a:pt x="1422229" y="318502"/>
                  </a:cubicBezTo>
                  <a:cubicBezTo>
                    <a:pt x="1333341" y="246582"/>
                    <a:pt x="1213682" y="215760"/>
                    <a:pt x="1073509" y="215760"/>
                  </a:cubicBezTo>
                  <a:cubicBezTo>
                    <a:pt x="830773" y="215760"/>
                    <a:pt x="683765" y="404121"/>
                    <a:pt x="683765" y="599332"/>
                  </a:cubicBezTo>
                  <a:cubicBezTo>
                    <a:pt x="683765" y="808242"/>
                    <a:pt x="786329" y="910985"/>
                    <a:pt x="981203" y="1030851"/>
                  </a:cubicBezTo>
                  <a:cubicBezTo>
                    <a:pt x="1179494" y="1143868"/>
                    <a:pt x="1336759" y="1226062"/>
                    <a:pt x="1531632" y="1339079"/>
                  </a:cubicBezTo>
                  <a:cubicBezTo>
                    <a:pt x="1842744" y="1520591"/>
                    <a:pt x="1996591" y="1708953"/>
                    <a:pt x="1996591" y="2048003"/>
                  </a:cubicBezTo>
                  <a:cubicBezTo>
                    <a:pt x="1996591" y="2510345"/>
                    <a:pt x="1617103" y="2924741"/>
                    <a:pt x="899150" y="2924741"/>
                  </a:cubicBezTo>
                  <a:cubicBezTo>
                    <a:pt x="574362" y="2924741"/>
                    <a:pt x="297438" y="2835697"/>
                    <a:pt x="167521" y="2770627"/>
                  </a:cubicBezTo>
                  <a:cubicBezTo>
                    <a:pt x="116239" y="2705556"/>
                    <a:pt x="3418" y="2181569"/>
                    <a:pt x="0" y="2010331"/>
                  </a:cubicBezTo>
                  <a:cubicBezTo>
                    <a:pt x="17094" y="1972659"/>
                    <a:pt x="177779" y="1928137"/>
                    <a:pt x="211967" y="1941836"/>
                  </a:cubicBezTo>
                  <a:cubicBezTo>
                    <a:pt x="307694" y="2226091"/>
                    <a:pt x="423933" y="2428151"/>
                    <a:pt x="588038" y="255486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7A589429-A1AF-004B-B2D6-830BA0D37AD6}"/>
              </a:ext>
            </a:extLst>
          </p:cNvPr>
          <p:cNvGrpSpPr/>
          <p:nvPr userDrawn="1"/>
        </p:nvGrpSpPr>
        <p:grpSpPr>
          <a:xfrm>
            <a:off x="8312338" y="3046281"/>
            <a:ext cx="3879660" cy="3811720"/>
            <a:chOff x="8312338" y="3046281"/>
            <a:chExt cx="3879660" cy="3811720"/>
          </a:xfrm>
        </p:grpSpPr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FAB0CFB5-7B28-A547-9873-724E922701E8}"/>
                </a:ext>
              </a:extLst>
            </p:cNvPr>
            <p:cNvSpPr/>
            <p:nvPr/>
          </p:nvSpPr>
          <p:spPr>
            <a:xfrm>
              <a:off x="9494872" y="4224080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317F27F7-E63D-6148-849A-E6ED639EE234}"/>
                </a:ext>
              </a:extLst>
            </p:cNvPr>
            <p:cNvSpPr/>
            <p:nvPr/>
          </p:nvSpPr>
          <p:spPr>
            <a:xfrm>
              <a:off x="10877320" y="5541041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68A4B448-E5A4-A849-9533-BBF2A5A95779}"/>
                </a:ext>
              </a:extLst>
            </p:cNvPr>
            <p:cNvSpPr/>
            <p:nvPr/>
          </p:nvSpPr>
          <p:spPr>
            <a:xfrm>
              <a:off x="11141610" y="3046281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7 h 450206"/>
                <a:gd name="connsiteX3" fmla="*/ 0 w 449426"/>
                <a:gd name="connsiteY3" fmla="*/ 450207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7"/>
                  </a:lnTo>
                  <a:lnTo>
                    <a:pt x="0" y="450207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765B724E-7DCC-D34B-81BE-12512A31D817}"/>
                </a:ext>
              </a:extLst>
            </p:cNvPr>
            <p:cNvSpPr/>
            <p:nvPr/>
          </p:nvSpPr>
          <p:spPr>
            <a:xfrm>
              <a:off x="8312338" y="5887253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6 h 450206"/>
                <a:gd name="connsiteX3" fmla="*/ 0 w 449426"/>
                <a:gd name="connsiteY3" fmla="*/ 450206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6"/>
                  </a:lnTo>
                  <a:lnTo>
                    <a:pt x="0" y="4502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9DB80A66-A424-7C4E-84A9-8E4A6DEC2F3D}"/>
                </a:ext>
              </a:extLst>
            </p:cNvPr>
            <p:cNvSpPr/>
            <p:nvPr/>
          </p:nvSpPr>
          <p:spPr>
            <a:xfrm>
              <a:off x="8312338" y="3080224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E2E51638-BBA2-FB4C-856C-5FC3147D06BE}"/>
                </a:ext>
              </a:extLst>
            </p:cNvPr>
            <p:cNvSpPr/>
            <p:nvPr/>
          </p:nvSpPr>
          <p:spPr>
            <a:xfrm>
              <a:off x="10175930" y="3182050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17F39F30-9AF6-1449-93B0-EC8BA6A71583}"/>
                </a:ext>
              </a:extLst>
            </p:cNvPr>
            <p:cNvSpPr/>
            <p:nvPr/>
          </p:nvSpPr>
          <p:spPr>
            <a:xfrm>
              <a:off x="11039959" y="4526166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4ECF33D-C9D3-2340-B48B-4538B6D4AD5B}"/>
                </a:ext>
              </a:extLst>
            </p:cNvPr>
            <p:cNvSpPr/>
            <p:nvPr/>
          </p:nvSpPr>
          <p:spPr>
            <a:xfrm>
              <a:off x="9555861" y="5758273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FA971CDB-E6EC-7048-B5DF-732D1B23F661}"/>
                </a:ext>
              </a:extLst>
            </p:cNvPr>
            <p:cNvSpPr/>
            <p:nvPr/>
          </p:nvSpPr>
          <p:spPr>
            <a:xfrm>
              <a:off x="8613900" y="4597446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804EC4F9-B287-4A42-A848-BDA400528D20}"/>
                </a:ext>
              </a:extLst>
            </p:cNvPr>
            <p:cNvSpPr/>
            <p:nvPr/>
          </p:nvSpPr>
          <p:spPr>
            <a:xfrm>
              <a:off x="9274630" y="3507897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203157" y="1813674"/>
            <a:ext cx="10437979" cy="1846659"/>
          </a:xfrm>
        </p:spPr>
        <p:txBody>
          <a:bodyPr vert="horz" anchor="t" anchorCtr="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ru-RU"/>
              <a:t>Название</a:t>
            </a:r>
            <a:br>
              <a:rPr lang="en-US"/>
            </a:br>
            <a:r>
              <a:rPr lang="ru-RU"/>
              <a:t>в две строки</a:t>
            </a:r>
            <a:endParaRPr lang="x-none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73F2CC7-906E-0A43-8BC5-CAEFB87F11CB}"/>
              </a:ext>
            </a:extLst>
          </p:cNvPr>
          <p:cNvCxnSpPr/>
          <p:nvPr userDrawn="1"/>
        </p:nvCxnSpPr>
        <p:spPr>
          <a:xfrm>
            <a:off x="1203157" y="1490941"/>
            <a:ext cx="1491916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2F7B8B5-F108-864E-9E02-84965A67A78E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203156" y="5430462"/>
            <a:ext cx="10437979" cy="307777"/>
          </a:xfrm>
        </p:spPr>
        <p:txBody>
          <a:bodyPr anchor="b" anchorCtr="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Подзаголовок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F003958-C4F0-AA4F-B513-5811C1FBCBE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203145" y="5909682"/>
            <a:ext cx="2448000" cy="246221"/>
          </a:xfrm>
          <a:noFill/>
        </p:spPr>
        <p:txBody>
          <a:bodyPr wrap="none" anchor="b" anchorCtr="0">
            <a:noAutofit/>
          </a:bodyPr>
          <a:lstStyle>
            <a:lvl1pPr>
              <a:defRPr sz="1800">
                <a:solidFill>
                  <a:srgbClr val="6C8DBD"/>
                </a:solidFill>
              </a:defRPr>
            </a:lvl1pPr>
          </a:lstStyle>
          <a:p>
            <a:pPr lvl="0"/>
            <a:r>
              <a:rPr lang="ru-RU"/>
              <a:t>Дата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90921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3EAC3D44-3270-6F41-A7FA-7D887C09EA9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00388" y="548311"/>
            <a:ext cx="1471612" cy="7477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11199C73-5CB8-3043-9692-EE578ED2C9D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Background pic</a:t>
            </a:r>
          </a:p>
        </p:txBody>
      </p:sp>
    </p:spTree>
    <p:extLst>
      <p:ext uri="{BB962C8B-B14F-4D97-AF65-F5344CB8AC3E}">
        <p14:creationId xmlns:p14="http://schemas.microsoft.com/office/powerpoint/2010/main" val="40104683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369332"/>
          </a:xfrm>
        </p:spPr>
        <p:txBody>
          <a:bodyPr vert="horz"/>
          <a:lstStyle>
            <a:lvl1pPr>
              <a:defRPr sz="2400"/>
            </a:lvl1pPr>
          </a:lstStyle>
          <a:p>
            <a:r>
              <a:rPr lang="ru-RU"/>
              <a:t>Заголовок</a:t>
            </a:r>
            <a:endParaRPr lang="x-none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pPr algn="ctr">
                <a:defRPr/>
              </a:p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770D9B08-BF1F-D747-A699-AA29CB826E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2027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_2 (With sour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x-none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EE3AC01-CE52-574B-8B6C-03931E756D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6366735"/>
            <a:ext cx="9693513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Trebuchet MS" panose="020B0703020202090204" pitchFamily="34" charset="0"/>
                <a:ea typeface="ＭＳ Ｐゴシック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ru-RU"/>
              <a:t>Источник</a:t>
            </a:r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pPr algn="ctr">
                <a:defRPr/>
              </a:p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770D9B08-BF1F-D747-A699-AA29CB826E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9821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0847" y="3121224"/>
            <a:ext cx="3694307" cy="615553"/>
          </a:xfrm>
        </p:spPr>
        <p:txBody>
          <a:bodyPr vert="horz" anchor="b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Заголовок</a:t>
            </a:r>
            <a:endParaRPr lang="x-none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7A6154E-D906-D04B-9DF4-EEEF72614A4D}"/>
              </a:ext>
            </a:extLst>
          </p:cNvPr>
          <p:cNvGrpSpPr/>
          <p:nvPr userDrawn="1"/>
        </p:nvGrpSpPr>
        <p:grpSpPr>
          <a:xfrm>
            <a:off x="8312338" y="2978338"/>
            <a:ext cx="3879662" cy="3879662"/>
            <a:chOff x="7758019" y="2373607"/>
            <a:chExt cx="4125917" cy="4125917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CDA4508-FBF6-7B4F-A16E-0AC26D92015B}"/>
                </a:ext>
              </a:extLst>
            </p:cNvPr>
            <p:cNvSpPr/>
            <p:nvPr/>
          </p:nvSpPr>
          <p:spPr>
            <a:xfrm>
              <a:off x="10875215" y="2373607"/>
              <a:ext cx="1008720" cy="1008720"/>
            </a:xfrm>
            <a:custGeom>
              <a:avLst/>
              <a:gdLst>
                <a:gd name="connsiteX0" fmla="*/ 0 w 970325"/>
                <a:gd name="connsiteY0" fmla="*/ 0 h 970325"/>
                <a:gd name="connsiteX1" fmla="*/ 970325 w 970325"/>
                <a:gd name="connsiteY1" fmla="*/ 0 h 970325"/>
                <a:gd name="connsiteX2" fmla="*/ 970325 w 970325"/>
                <a:gd name="connsiteY2" fmla="*/ 970325 h 970325"/>
                <a:gd name="connsiteX3" fmla="*/ 0 w 970325"/>
                <a:gd name="connsiteY3" fmla="*/ 970325 h 97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325" h="970325">
                  <a:moveTo>
                    <a:pt x="0" y="0"/>
                  </a:moveTo>
                  <a:lnTo>
                    <a:pt x="970325" y="0"/>
                  </a:lnTo>
                  <a:lnTo>
                    <a:pt x="970325" y="970325"/>
                  </a:lnTo>
                  <a:lnTo>
                    <a:pt x="0" y="97032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6BE70485-2581-024F-A7F0-C6887C5EAA47}"/>
                </a:ext>
              </a:extLst>
            </p:cNvPr>
            <p:cNvSpPr/>
            <p:nvPr/>
          </p:nvSpPr>
          <p:spPr>
            <a:xfrm>
              <a:off x="7758019" y="5490803"/>
              <a:ext cx="1008720" cy="1008720"/>
            </a:xfrm>
            <a:custGeom>
              <a:avLst/>
              <a:gdLst>
                <a:gd name="connsiteX0" fmla="*/ 0 w 970325"/>
                <a:gd name="connsiteY0" fmla="*/ 0 h 970325"/>
                <a:gd name="connsiteX1" fmla="*/ 970325 w 970325"/>
                <a:gd name="connsiteY1" fmla="*/ 0 h 970325"/>
                <a:gd name="connsiteX2" fmla="*/ 970325 w 970325"/>
                <a:gd name="connsiteY2" fmla="*/ 970325 h 970325"/>
                <a:gd name="connsiteX3" fmla="*/ 0 w 970325"/>
                <a:gd name="connsiteY3" fmla="*/ 970325 h 97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325" h="970325">
                  <a:moveTo>
                    <a:pt x="0" y="0"/>
                  </a:moveTo>
                  <a:lnTo>
                    <a:pt x="970325" y="0"/>
                  </a:lnTo>
                  <a:lnTo>
                    <a:pt x="970325" y="970325"/>
                  </a:lnTo>
                  <a:lnTo>
                    <a:pt x="0" y="97032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17025CF4-7823-B849-9A42-07EEF4251D39}"/>
                </a:ext>
              </a:extLst>
            </p:cNvPr>
            <p:cNvSpPr/>
            <p:nvPr/>
          </p:nvSpPr>
          <p:spPr>
            <a:xfrm>
              <a:off x="8738562" y="2801604"/>
              <a:ext cx="588225" cy="588225"/>
            </a:xfrm>
            <a:custGeom>
              <a:avLst/>
              <a:gdLst>
                <a:gd name="connsiteX0" fmla="*/ 0 w 565835"/>
                <a:gd name="connsiteY0" fmla="*/ 0 h 565835"/>
                <a:gd name="connsiteX1" fmla="*/ 565836 w 565835"/>
                <a:gd name="connsiteY1" fmla="*/ 0 h 565835"/>
                <a:gd name="connsiteX2" fmla="*/ 565836 w 565835"/>
                <a:gd name="connsiteY2" fmla="*/ 565836 h 565835"/>
                <a:gd name="connsiteX3" fmla="*/ 0 w 565835"/>
                <a:gd name="connsiteY3" fmla="*/ 565836 h 565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5835" h="565835">
                  <a:moveTo>
                    <a:pt x="0" y="0"/>
                  </a:moveTo>
                  <a:lnTo>
                    <a:pt x="565836" y="0"/>
                  </a:lnTo>
                  <a:lnTo>
                    <a:pt x="565836" y="565836"/>
                  </a:lnTo>
                  <a:lnTo>
                    <a:pt x="0" y="56583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874D143E-7199-274E-A4B6-B07C8E902B59}"/>
                </a:ext>
              </a:extLst>
            </p:cNvPr>
            <p:cNvSpPr/>
            <p:nvPr/>
          </p:nvSpPr>
          <p:spPr>
            <a:xfrm>
              <a:off x="10699315" y="3898858"/>
              <a:ext cx="841489" cy="841489"/>
            </a:xfrm>
            <a:custGeom>
              <a:avLst/>
              <a:gdLst>
                <a:gd name="connsiteX0" fmla="*/ 0 w 809459"/>
                <a:gd name="connsiteY0" fmla="*/ 0 h 809459"/>
                <a:gd name="connsiteX1" fmla="*/ 809460 w 809459"/>
                <a:gd name="connsiteY1" fmla="*/ 0 h 809459"/>
                <a:gd name="connsiteX2" fmla="*/ 809460 w 809459"/>
                <a:gd name="connsiteY2" fmla="*/ 809460 h 809459"/>
                <a:gd name="connsiteX3" fmla="*/ 0 w 809459"/>
                <a:gd name="connsiteY3" fmla="*/ 809460 h 80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459" h="809459">
                  <a:moveTo>
                    <a:pt x="0" y="0"/>
                  </a:moveTo>
                  <a:lnTo>
                    <a:pt x="809460" y="0"/>
                  </a:lnTo>
                  <a:lnTo>
                    <a:pt x="809460" y="809460"/>
                  </a:lnTo>
                  <a:lnTo>
                    <a:pt x="0" y="809460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0D4BADA9-955C-D246-B4EF-080C5AF9DAD5}"/>
                </a:ext>
              </a:extLst>
            </p:cNvPr>
            <p:cNvSpPr/>
            <p:nvPr/>
          </p:nvSpPr>
          <p:spPr>
            <a:xfrm>
              <a:off x="9068355" y="5271553"/>
              <a:ext cx="841489" cy="841489"/>
            </a:xfrm>
            <a:custGeom>
              <a:avLst/>
              <a:gdLst>
                <a:gd name="connsiteX0" fmla="*/ 0 w 809459"/>
                <a:gd name="connsiteY0" fmla="*/ 0 h 809459"/>
                <a:gd name="connsiteX1" fmla="*/ 809460 w 809459"/>
                <a:gd name="connsiteY1" fmla="*/ 0 h 809459"/>
                <a:gd name="connsiteX2" fmla="*/ 809460 w 809459"/>
                <a:gd name="connsiteY2" fmla="*/ 809460 h 809459"/>
                <a:gd name="connsiteX3" fmla="*/ 0 w 809459"/>
                <a:gd name="connsiteY3" fmla="*/ 809460 h 80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459" h="809459">
                  <a:moveTo>
                    <a:pt x="0" y="0"/>
                  </a:moveTo>
                  <a:lnTo>
                    <a:pt x="809460" y="0"/>
                  </a:lnTo>
                  <a:lnTo>
                    <a:pt x="809460" y="809460"/>
                  </a:lnTo>
                  <a:lnTo>
                    <a:pt x="0" y="809460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025D8423-5F63-6F49-99C9-4DF90B8A1151}"/>
                </a:ext>
              </a:extLst>
            </p:cNvPr>
            <p:cNvSpPr/>
            <p:nvPr/>
          </p:nvSpPr>
          <p:spPr>
            <a:xfrm>
              <a:off x="8023787" y="3987392"/>
              <a:ext cx="624072" cy="624072"/>
            </a:xfrm>
            <a:custGeom>
              <a:avLst/>
              <a:gdLst>
                <a:gd name="connsiteX0" fmla="*/ 0 w 600318"/>
                <a:gd name="connsiteY0" fmla="*/ 0 h 600318"/>
                <a:gd name="connsiteX1" fmla="*/ 600319 w 600318"/>
                <a:gd name="connsiteY1" fmla="*/ 0 h 600318"/>
                <a:gd name="connsiteX2" fmla="*/ 600319 w 600318"/>
                <a:gd name="connsiteY2" fmla="*/ 600319 h 600318"/>
                <a:gd name="connsiteX3" fmla="*/ 0 w 600318"/>
                <a:gd name="connsiteY3" fmla="*/ 600319 h 600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318" h="600318">
                  <a:moveTo>
                    <a:pt x="0" y="0"/>
                  </a:moveTo>
                  <a:lnTo>
                    <a:pt x="600319" y="0"/>
                  </a:lnTo>
                  <a:lnTo>
                    <a:pt x="600319" y="600319"/>
                  </a:lnTo>
                  <a:lnTo>
                    <a:pt x="0" y="600319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6C56157B-050A-C845-94B7-4FF34DE05834}"/>
                </a:ext>
              </a:extLst>
            </p:cNvPr>
            <p:cNvSpPr/>
            <p:nvPr/>
          </p:nvSpPr>
          <p:spPr>
            <a:xfrm>
              <a:off x="8875947" y="3536053"/>
              <a:ext cx="1471064" cy="1471064"/>
            </a:xfrm>
            <a:custGeom>
              <a:avLst/>
              <a:gdLst>
                <a:gd name="connsiteX0" fmla="*/ 0 w 1415070"/>
                <a:gd name="connsiteY0" fmla="*/ 0 h 1415070"/>
                <a:gd name="connsiteX1" fmla="*/ 1415071 w 1415070"/>
                <a:gd name="connsiteY1" fmla="*/ 0 h 1415070"/>
                <a:gd name="connsiteX2" fmla="*/ 1415071 w 1415070"/>
                <a:gd name="connsiteY2" fmla="*/ 1415071 h 1415070"/>
                <a:gd name="connsiteX3" fmla="*/ 0 w 1415070"/>
                <a:gd name="connsiteY3" fmla="*/ 1415071 h 141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5070" h="1415070">
                  <a:moveTo>
                    <a:pt x="0" y="0"/>
                  </a:moveTo>
                  <a:lnTo>
                    <a:pt x="1415071" y="0"/>
                  </a:lnTo>
                  <a:lnTo>
                    <a:pt x="1415071" y="1415071"/>
                  </a:lnTo>
                  <a:lnTo>
                    <a:pt x="0" y="1415071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3F3461D8-4E1B-F346-ABF9-7869F6A279EC}"/>
                </a:ext>
              </a:extLst>
            </p:cNvPr>
            <p:cNvSpPr/>
            <p:nvPr/>
          </p:nvSpPr>
          <p:spPr>
            <a:xfrm>
              <a:off x="10476562" y="5092150"/>
              <a:ext cx="1407374" cy="1407374"/>
            </a:xfrm>
            <a:custGeom>
              <a:avLst/>
              <a:gdLst>
                <a:gd name="connsiteX0" fmla="*/ 0 w 1353804"/>
                <a:gd name="connsiteY0" fmla="*/ 0 h 1353804"/>
                <a:gd name="connsiteX1" fmla="*/ 1353804 w 1353804"/>
                <a:gd name="connsiteY1" fmla="*/ 0 h 1353804"/>
                <a:gd name="connsiteX2" fmla="*/ 1353804 w 1353804"/>
                <a:gd name="connsiteY2" fmla="*/ 1353804 h 1353804"/>
                <a:gd name="connsiteX3" fmla="*/ 0 w 1353804"/>
                <a:gd name="connsiteY3" fmla="*/ 1353804 h 1353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804" h="1353804">
                  <a:moveTo>
                    <a:pt x="0" y="0"/>
                  </a:moveTo>
                  <a:lnTo>
                    <a:pt x="1353804" y="0"/>
                  </a:lnTo>
                  <a:lnTo>
                    <a:pt x="1353804" y="1353804"/>
                  </a:lnTo>
                  <a:lnTo>
                    <a:pt x="0" y="1353804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BC7B5B3-EE82-1A4D-A243-37ECBAFABA2B}"/>
                </a:ext>
              </a:extLst>
            </p:cNvPr>
            <p:cNvSpPr/>
            <p:nvPr/>
          </p:nvSpPr>
          <p:spPr>
            <a:xfrm>
              <a:off x="7758019" y="2373607"/>
              <a:ext cx="765960" cy="765960"/>
            </a:xfrm>
            <a:custGeom>
              <a:avLst/>
              <a:gdLst>
                <a:gd name="connsiteX0" fmla="*/ 0 w 736805"/>
                <a:gd name="connsiteY0" fmla="*/ 0 h 736805"/>
                <a:gd name="connsiteX1" fmla="*/ 736806 w 736805"/>
                <a:gd name="connsiteY1" fmla="*/ 0 h 736805"/>
                <a:gd name="connsiteX2" fmla="*/ 736806 w 736805"/>
                <a:gd name="connsiteY2" fmla="*/ 736806 h 736805"/>
                <a:gd name="connsiteX3" fmla="*/ 0 w 736805"/>
                <a:gd name="connsiteY3" fmla="*/ 736806 h 73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6805" h="736805">
                  <a:moveTo>
                    <a:pt x="0" y="0"/>
                  </a:moveTo>
                  <a:lnTo>
                    <a:pt x="736806" y="0"/>
                  </a:lnTo>
                  <a:lnTo>
                    <a:pt x="736806" y="736806"/>
                  </a:lnTo>
                  <a:lnTo>
                    <a:pt x="0" y="7368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3C32989-2C0A-0C47-AC10-0F9572F4991B}"/>
                </a:ext>
              </a:extLst>
            </p:cNvPr>
            <p:cNvSpPr/>
            <p:nvPr/>
          </p:nvSpPr>
          <p:spPr>
            <a:xfrm>
              <a:off x="9747282" y="2494986"/>
              <a:ext cx="765960" cy="765960"/>
            </a:xfrm>
            <a:custGeom>
              <a:avLst/>
              <a:gdLst>
                <a:gd name="connsiteX0" fmla="*/ 0 w 736805"/>
                <a:gd name="connsiteY0" fmla="*/ 0 h 736805"/>
                <a:gd name="connsiteX1" fmla="*/ 736806 w 736805"/>
                <a:gd name="connsiteY1" fmla="*/ 0 h 736805"/>
                <a:gd name="connsiteX2" fmla="*/ 736806 w 736805"/>
                <a:gd name="connsiteY2" fmla="*/ 736806 h 736805"/>
                <a:gd name="connsiteX3" fmla="*/ 0 w 736805"/>
                <a:gd name="connsiteY3" fmla="*/ 736806 h 73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6805" h="736805">
                  <a:moveTo>
                    <a:pt x="0" y="0"/>
                  </a:moveTo>
                  <a:lnTo>
                    <a:pt x="736806" y="0"/>
                  </a:lnTo>
                  <a:lnTo>
                    <a:pt x="736806" y="736806"/>
                  </a:lnTo>
                  <a:lnTo>
                    <a:pt x="0" y="7368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5AB7332F-FCFD-6647-BAE6-0B153115D912}"/>
              </a:ext>
            </a:extLst>
          </p:cNvPr>
          <p:cNvSpPr/>
          <p:nvPr userDrawn="1"/>
        </p:nvSpPr>
        <p:spPr>
          <a:xfrm>
            <a:off x="6095999" y="0"/>
            <a:ext cx="6096001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x-none" sz="1400" b="1"/>
          </a:p>
        </p:txBody>
      </p:sp>
    </p:spTree>
    <p:extLst>
      <p:ext uri="{BB962C8B-B14F-4D97-AF65-F5344CB8AC3E}">
        <p14:creationId xmlns:p14="http://schemas.microsoft.com/office/powerpoint/2010/main" val="13123300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">
    <p:bg>
      <p:bgPr>
        <a:gradFill>
          <a:gsLst>
            <a:gs pos="39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rrow: Pentagon 32">
            <a:extLst>
              <a:ext uri="{FF2B5EF4-FFF2-40B4-BE49-F238E27FC236}">
                <a16:creationId xmlns:a16="http://schemas.microsoft.com/office/drawing/2014/main" id="{99DAB22F-91D8-404E-BFA7-58AA16117896}"/>
              </a:ext>
            </a:extLst>
          </p:cNvPr>
          <p:cNvSpPr/>
          <p:nvPr userDrawn="1"/>
        </p:nvSpPr>
        <p:spPr>
          <a:xfrm>
            <a:off x="0" y="448"/>
            <a:ext cx="8298194" cy="6857552"/>
          </a:xfrm>
          <a:prstGeom prst="homePlate">
            <a:avLst>
              <a:gd name="adj" fmla="val 9677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6260169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406564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_2 (With sour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5622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en-R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EE3AC01-CE52-574B-8B6C-03931E756D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6366735"/>
            <a:ext cx="9693513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Trebuchet MS" panose="020B0703020202090204" pitchFamily="34" charset="0"/>
                <a:ea typeface="ＭＳ Ｐゴシック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ru-RU"/>
              <a:t>Источник</a:t>
            </a:r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770D9B08-BF1F-D747-A699-AA29CB826EA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3792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B53E1A4D-FDB2-8546-853D-32EE81F32263}"/>
              </a:ext>
            </a:extLst>
          </p:cNvPr>
          <p:cNvSpPr/>
          <p:nvPr userDrawn="1"/>
        </p:nvSpPr>
        <p:spPr>
          <a:xfrm>
            <a:off x="0" y="0"/>
            <a:ext cx="4069629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x-none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3B9391-7C88-F840-833E-B7D60DB63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3092669" cy="4372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D290833-E380-9144-921E-7981C45A8E00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00" b="1"/>
          </a:p>
        </p:txBody>
      </p:sp>
      <p:sp>
        <p:nvSpPr>
          <p:cNvPr id="28" name="TextBox 1">
            <a:extLst>
              <a:ext uri="{FF2B5EF4-FFF2-40B4-BE49-F238E27FC236}">
                <a16:creationId xmlns:a16="http://schemas.microsoft.com/office/drawing/2014/main" id="{C70A0AE9-9071-C247-85CC-AA9C40D7F03D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pPr algn="ctr">
                <a:defRPr/>
              </a:p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EB2A947-B59F-4641-A9AC-86F90A23A2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7389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B53E1A4D-FDB2-8546-853D-32EE81F32263}"/>
              </a:ext>
            </a:extLst>
          </p:cNvPr>
          <p:cNvSpPr/>
          <p:nvPr userDrawn="1"/>
        </p:nvSpPr>
        <p:spPr>
          <a:xfrm>
            <a:off x="8122371" y="0"/>
            <a:ext cx="4069629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x-none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3B9391-7C88-F840-833E-B7D60DB63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7066800" cy="437236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4257CBA9-8590-AE43-8CB4-9C9EDD1224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6366735"/>
            <a:ext cx="7066800" cy="153888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Trebuchet MS" panose="020B0703020202090204" pitchFamily="34" charset="0"/>
                <a:ea typeface="ＭＳ Ｐゴシック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ru-RU"/>
              <a:t>Источни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8637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-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3750CABC-2070-3045-9979-5EB6FF8AA8B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664784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12181EAB-F7DD-9E41-87E1-36C960A5949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86303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1C4B0EEE-BB90-6E4F-BD1C-F5D4DAC2606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07821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BEF81ACC-E8D8-A84D-A3FF-79C0E8DFA0A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9342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5BC5280-07C4-5648-8F89-3AB2A146E15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3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x-none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pPr algn="ctr">
                <a:defRPr/>
              </a:p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DEC1154-29E1-4843-A9B8-8161644685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5965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E720B4A-FFE4-B741-BACA-7DEFF080782F}"/>
              </a:ext>
            </a:extLst>
          </p:cNvPr>
          <p:cNvSpPr/>
          <p:nvPr userDrawn="1"/>
        </p:nvSpPr>
        <p:spPr>
          <a:xfrm>
            <a:off x="0" y="1215189"/>
            <a:ext cx="3862137" cy="564281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9E67AC2-2EAD-B34F-B2A4-8E4B4C4A6A83}"/>
              </a:ext>
            </a:extLst>
          </p:cNvPr>
          <p:cNvCxnSpPr>
            <a:cxnSpLocks/>
          </p:cNvCxnSpPr>
          <p:nvPr userDrawn="1"/>
        </p:nvCxnSpPr>
        <p:spPr>
          <a:xfrm>
            <a:off x="566939" y="3780809"/>
            <a:ext cx="792629" cy="0"/>
          </a:xfrm>
          <a:prstGeom prst="line">
            <a:avLst/>
          </a:prstGeom>
          <a:ln w="38100" cmpd="sng">
            <a:solidFill>
              <a:schemeClr val="bg1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33" y="2582949"/>
            <a:ext cx="3078629" cy="738664"/>
          </a:xfrm>
        </p:spPr>
        <p:txBody>
          <a:bodyPr vert="horz"/>
          <a:lstStyle>
            <a:lvl1pPr>
              <a:defRPr sz="2400"/>
            </a:lvl1pPr>
          </a:lstStyle>
          <a:p>
            <a:r>
              <a:rPr lang="ru-RU"/>
              <a:t>Имя</a:t>
            </a:r>
            <a:br>
              <a:rPr lang="ru-RU"/>
            </a:br>
            <a:r>
              <a:rPr lang="ru-RU"/>
              <a:t>Фамилия</a:t>
            </a:r>
            <a:endParaRPr lang="x-none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pPr algn="ctr">
                <a:defRPr/>
              </a:p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37EEDB8-49D1-D244-928D-D95B3B5AB18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6939" y="0"/>
            <a:ext cx="2549240" cy="254945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A7FE9F-1BEE-CC4D-AD27-C477FA21FD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333" y="3321612"/>
            <a:ext cx="30559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ru-RU"/>
              <a:t>Должность</a:t>
            </a: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1763EB7E-C3F6-7C46-ABF7-DD7FE5AE82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3118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gradFill>
          <a:gsLst>
            <a:gs pos="10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3157" y="3694067"/>
            <a:ext cx="10437979" cy="738664"/>
          </a:xfrm>
        </p:spPr>
        <p:txBody>
          <a:bodyPr vert="horz" anchor="b" anchorCtr="0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  <a:endParaRPr lang="x-none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73F2CC7-906E-0A43-8BC5-CAEFB87F11CB}"/>
              </a:ext>
            </a:extLst>
          </p:cNvPr>
          <p:cNvCxnSpPr/>
          <p:nvPr userDrawn="1"/>
        </p:nvCxnSpPr>
        <p:spPr>
          <a:xfrm>
            <a:off x="1203157" y="4728411"/>
            <a:ext cx="1491916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039A95A-0241-834F-99E5-43B101E36DDD}"/>
              </a:ext>
            </a:extLst>
          </p:cNvPr>
          <p:cNvGrpSpPr/>
          <p:nvPr userDrawn="1"/>
        </p:nvGrpSpPr>
        <p:grpSpPr>
          <a:xfrm>
            <a:off x="8312338" y="3046281"/>
            <a:ext cx="3879660" cy="3811720"/>
            <a:chOff x="8312338" y="3046281"/>
            <a:chExt cx="3879660" cy="3811720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FBB1D06B-DE12-1040-AA63-264EB7B5A67A}"/>
                </a:ext>
              </a:extLst>
            </p:cNvPr>
            <p:cNvSpPr/>
            <p:nvPr/>
          </p:nvSpPr>
          <p:spPr>
            <a:xfrm>
              <a:off x="9494872" y="4224080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062C84BC-0543-554D-862F-33CAB0F014BF}"/>
                </a:ext>
              </a:extLst>
            </p:cNvPr>
            <p:cNvSpPr/>
            <p:nvPr/>
          </p:nvSpPr>
          <p:spPr>
            <a:xfrm>
              <a:off x="10877320" y="5541041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619FD709-138E-C943-87BE-E2A14FC5E990}"/>
                </a:ext>
              </a:extLst>
            </p:cNvPr>
            <p:cNvSpPr/>
            <p:nvPr/>
          </p:nvSpPr>
          <p:spPr>
            <a:xfrm>
              <a:off x="11141610" y="3046281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7 h 450206"/>
                <a:gd name="connsiteX3" fmla="*/ 0 w 449426"/>
                <a:gd name="connsiteY3" fmla="*/ 450207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7"/>
                  </a:lnTo>
                  <a:lnTo>
                    <a:pt x="0" y="450207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70859DDC-6596-4843-9603-982CD2DDD0CC}"/>
                </a:ext>
              </a:extLst>
            </p:cNvPr>
            <p:cNvSpPr/>
            <p:nvPr/>
          </p:nvSpPr>
          <p:spPr>
            <a:xfrm>
              <a:off x="8312338" y="5887253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6 h 450206"/>
                <a:gd name="connsiteX3" fmla="*/ 0 w 449426"/>
                <a:gd name="connsiteY3" fmla="*/ 450206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6"/>
                  </a:lnTo>
                  <a:lnTo>
                    <a:pt x="0" y="4502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BEB74981-D994-E449-8EFE-FDD59D63F8E5}"/>
                </a:ext>
              </a:extLst>
            </p:cNvPr>
            <p:cNvSpPr/>
            <p:nvPr/>
          </p:nvSpPr>
          <p:spPr>
            <a:xfrm>
              <a:off x="8312338" y="3080224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4EB3CD7-499A-4A4A-8338-3C16D89DB93E}"/>
                </a:ext>
              </a:extLst>
            </p:cNvPr>
            <p:cNvSpPr/>
            <p:nvPr/>
          </p:nvSpPr>
          <p:spPr>
            <a:xfrm>
              <a:off x="10175930" y="3182050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713EFE07-EE67-B341-B594-AA5B8B330EED}"/>
                </a:ext>
              </a:extLst>
            </p:cNvPr>
            <p:cNvSpPr/>
            <p:nvPr/>
          </p:nvSpPr>
          <p:spPr>
            <a:xfrm>
              <a:off x="11039959" y="4526166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3F625451-0534-4F4E-99B0-C1836CEE3855}"/>
                </a:ext>
              </a:extLst>
            </p:cNvPr>
            <p:cNvSpPr/>
            <p:nvPr/>
          </p:nvSpPr>
          <p:spPr>
            <a:xfrm>
              <a:off x="9555861" y="5758273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E375CC17-1B77-694D-8E5A-97028735B056}"/>
                </a:ext>
              </a:extLst>
            </p:cNvPr>
            <p:cNvSpPr/>
            <p:nvPr/>
          </p:nvSpPr>
          <p:spPr>
            <a:xfrm>
              <a:off x="8613900" y="4597446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CDDDA135-170F-E545-872E-277F8BA7DEC6}"/>
                </a:ext>
              </a:extLst>
            </p:cNvPr>
            <p:cNvSpPr/>
            <p:nvPr/>
          </p:nvSpPr>
          <p:spPr>
            <a:xfrm>
              <a:off x="9274630" y="3507897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154367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>
            <a:extLst>
              <a:ext uri="{FF2B5EF4-FFF2-40B4-BE49-F238E27FC236}">
                <a16:creationId xmlns:a16="http://schemas.microsoft.com/office/drawing/2014/main" id="{AB57EBE9-176D-5F4D-8209-6E45FB780C4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36035" y="-2037"/>
            <a:ext cx="10455965" cy="6860038"/>
          </a:xfrm>
          <a:custGeom>
            <a:avLst/>
            <a:gdLst/>
            <a:ahLst/>
            <a:cxnLst>
              <a:cxn ang="0">
                <a:pos x="8" y="24"/>
              </a:cxn>
              <a:cxn ang="0">
                <a:pos x="0" y="40"/>
              </a:cxn>
              <a:cxn ang="0">
                <a:pos x="204" y="0"/>
              </a:cxn>
              <a:cxn ang="0">
                <a:pos x="156" y="2"/>
              </a:cxn>
              <a:cxn ang="0">
                <a:pos x="204" y="48"/>
              </a:cxn>
              <a:cxn ang="0">
                <a:pos x="65" y="0"/>
              </a:cxn>
              <a:cxn ang="0">
                <a:pos x="62" y="71"/>
              </a:cxn>
              <a:cxn ang="0">
                <a:pos x="65" y="141"/>
              </a:cxn>
              <a:cxn ang="0">
                <a:pos x="65" y="0"/>
              </a:cxn>
              <a:cxn ang="0">
                <a:pos x="146" y="141"/>
              </a:cxn>
              <a:cxn ang="0">
                <a:pos x="108" y="104"/>
              </a:cxn>
              <a:cxn ang="0">
                <a:pos x="156" y="141"/>
              </a:cxn>
              <a:cxn ang="0">
                <a:pos x="204" y="124"/>
              </a:cxn>
              <a:cxn ang="0">
                <a:pos x="156" y="141"/>
              </a:cxn>
              <a:cxn ang="0">
                <a:pos x="204" y="60"/>
              </a:cxn>
              <a:cxn ang="0">
                <a:pos x="156" y="104"/>
              </a:cxn>
              <a:cxn ang="0">
                <a:pos x="73" y="96"/>
              </a:cxn>
              <a:cxn ang="0">
                <a:pos x="101" y="140"/>
              </a:cxn>
              <a:cxn ang="0">
                <a:pos x="73" y="96"/>
              </a:cxn>
              <a:cxn ang="0">
                <a:pos x="146" y="58"/>
              </a:cxn>
              <a:cxn ang="0">
                <a:pos x="108" y="95"/>
              </a:cxn>
              <a:cxn ang="0">
                <a:pos x="73" y="55"/>
              </a:cxn>
              <a:cxn ang="0">
                <a:pos x="101" y="94"/>
              </a:cxn>
              <a:cxn ang="0">
                <a:pos x="73" y="55"/>
              </a:cxn>
              <a:cxn ang="0">
                <a:pos x="146" y="4"/>
              </a:cxn>
              <a:cxn ang="0">
                <a:pos x="108" y="48"/>
              </a:cxn>
              <a:cxn ang="0">
                <a:pos x="73" y="14"/>
              </a:cxn>
              <a:cxn ang="0">
                <a:pos x="101" y="48"/>
              </a:cxn>
              <a:cxn ang="0">
                <a:pos x="73" y="14"/>
              </a:cxn>
              <a:cxn ang="0">
                <a:pos x="11" y="86"/>
              </a:cxn>
              <a:cxn ang="0">
                <a:pos x="1" y="103"/>
              </a:cxn>
              <a:cxn ang="0">
                <a:pos x="15" y="84"/>
              </a:cxn>
              <a:cxn ang="0">
                <a:pos x="25" y="105"/>
              </a:cxn>
              <a:cxn ang="0">
                <a:pos x="15" y="84"/>
              </a:cxn>
              <a:cxn ang="0">
                <a:pos x="55" y="87"/>
              </a:cxn>
              <a:cxn ang="0">
                <a:pos x="55" y="123"/>
              </a:cxn>
              <a:cxn ang="0">
                <a:pos x="33" y="99"/>
              </a:cxn>
              <a:cxn ang="0">
                <a:pos x="36" y="57"/>
              </a:cxn>
              <a:cxn ang="0">
                <a:pos x="48" y="78"/>
              </a:cxn>
              <a:cxn ang="0">
                <a:pos x="36" y="57"/>
              </a:cxn>
              <a:cxn ang="0">
                <a:pos x="31" y="50"/>
              </a:cxn>
              <a:cxn ang="0">
                <a:pos x="31" y="82"/>
              </a:cxn>
              <a:cxn ang="0">
                <a:pos x="13" y="64"/>
              </a:cxn>
              <a:cxn ang="0">
                <a:pos x="4" y="57"/>
              </a:cxn>
              <a:cxn ang="0">
                <a:pos x="10" y="69"/>
              </a:cxn>
              <a:cxn ang="0">
                <a:pos x="4" y="57"/>
              </a:cxn>
              <a:cxn ang="0">
                <a:pos x="18" y="33"/>
              </a:cxn>
              <a:cxn ang="0">
                <a:pos x="11" y="45"/>
              </a:cxn>
              <a:cxn ang="0">
                <a:pos x="37" y="20"/>
              </a:cxn>
              <a:cxn ang="0">
                <a:pos x="53" y="44"/>
              </a:cxn>
              <a:cxn ang="0">
                <a:pos x="37" y="20"/>
              </a:cxn>
              <a:cxn ang="0">
                <a:pos x="34" y="23"/>
              </a:cxn>
              <a:cxn ang="0">
                <a:pos x="23" y="42"/>
              </a:cxn>
            </a:cxnLst>
            <a:rect l="0" t="0" r="r" b="b"/>
            <a:pathLst>
              <a:path w="204" h="141">
                <a:moveTo>
                  <a:pt x="0" y="25"/>
                </a:moveTo>
                <a:cubicBezTo>
                  <a:pt x="3" y="25"/>
                  <a:pt x="5" y="25"/>
                  <a:pt x="8" y="24"/>
                </a:cubicBezTo>
                <a:cubicBezTo>
                  <a:pt x="8" y="30"/>
                  <a:pt x="8" y="35"/>
                  <a:pt x="8" y="40"/>
                </a:cubicBezTo>
                <a:cubicBezTo>
                  <a:pt x="5" y="40"/>
                  <a:pt x="3" y="40"/>
                  <a:pt x="0" y="40"/>
                </a:cubicBezTo>
                <a:cubicBezTo>
                  <a:pt x="0" y="35"/>
                  <a:pt x="0" y="30"/>
                  <a:pt x="0" y="25"/>
                </a:cubicBezTo>
                <a:close/>
                <a:moveTo>
                  <a:pt x="204" y="0"/>
                </a:moveTo>
                <a:lnTo>
                  <a:pt x="172" y="0"/>
                </a:lnTo>
                <a:lnTo>
                  <a:pt x="156" y="2"/>
                </a:lnTo>
                <a:cubicBezTo>
                  <a:pt x="156" y="18"/>
                  <a:pt x="156" y="33"/>
                  <a:pt x="156" y="48"/>
                </a:cubicBezTo>
                <a:lnTo>
                  <a:pt x="204" y="48"/>
                </a:lnTo>
                <a:lnTo>
                  <a:pt x="204" y="0"/>
                </a:lnTo>
                <a:close/>
                <a:moveTo>
                  <a:pt x="65" y="0"/>
                </a:moveTo>
                <a:lnTo>
                  <a:pt x="62" y="0"/>
                </a:lnTo>
                <a:cubicBezTo>
                  <a:pt x="62" y="24"/>
                  <a:pt x="62" y="47"/>
                  <a:pt x="62" y="71"/>
                </a:cubicBezTo>
                <a:cubicBezTo>
                  <a:pt x="62" y="94"/>
                  <a:pt x="63" y="117"/>
                  <a:pt x="63" y="141"/>
                </a:cubicBezTo>
                <a:lnTo>
                  <a:pt x="65" y="141"/>
                </a:lnTo>
                <a:cubicBezTo>
                  <a:pt x="65" y="118"/>
                  <a:pt x="65" y="94"/>
                  <a:pt x="65" y="71"/>
                </a:cubicBezTo>
                <a:lnTo>
                  <a:pt x="65" y="0"/>
                </a:lnTo>
                <a:close/>
                <a:moveTo>
                  <a:pt x="108" y="141"/>
                </a:moveTo>
                <a:lnTo>
                  <a:pt x="146" y="141"/>
                </a:lnTo>
                <a:cubicBezTo>
                  <a:pt x="146" y="131"/>
                  <a:pt x="146" y="121"/>
                  <a:pt x="146" y="112"/>
                </a:cubicBezTo>
                <a:cubicBezTo>
                  <a:pt x="132" y="109"/>
                  <a:pt x="120" y="106"/>
                  <a:pt x="108" y="104"/>
                </a:cubicBezTo>
                <a:cubicBezTo>
                  <a:pt x="108" y="116"/>
                  <a:pt x="108" y="129"/>
                  <a:pt x="108" y="141"/>
                </a:cubicBezTo>
                <a:close/>
                <a:moveTo>
                  <a:pt x="156" y="141"/>
                </a:moveTo>
                <a:lnTo>
                  <a:pt x="204" y="141"/>
                </a:lnTo>
                <a:lnTo>
                  <a:pt x="204" y="124"/>
                </a:lnTo>
                <a:cubicBezTo>
                  <a:pt x="187" y="120"/>
                  <a:pt x="171" y="117"/>
                  <a:pt x="156" y="114"/>
                </a:cubicBezTo>
                <a:lnTo>
                  <a:pt x="156" y="141"/>
                </a:lnTo>
                <a:close/>
                <a:moveTo>
                  <a:pt x="204" y="112"/>
                </a:moveTo>
                <a:lnTo>
                  <a:pt x="204" y="60"/>
                </a:lnTo>
                <a:lnTo>
                  <a:pt x="156" y="58"/>
                </a:lnTo>
                <a:cubicBezTo>
                  <a:pt x="156" y="73"/>
                  <a:pt x="156" y="89"/>
                  <a:pt x="156" y="104"/>
                </a:cubicBezTo>
                <a:cubicBezTo>
                  <a:pt x="171" y="106"/>
                  <a:pt x="187" y="109"/>
                  <a:pt x="204" y="112"/>
                </a:cubicBezTo>
                <a:close/>
                <a:moveTo>
                  <a:pt x="73" y="96"/>
                </a:moveTo>
                <a:cubicBezTo>
                  <a:pt x="82" y="98"/>
                  <a:pt x="91" y="100"/>
                  <a:pt x="101" y="102"/>
                </a:cubicBezTo>
                <a:cubicBezTo>
                  <a:pt x="101" y="115"/>
                  <a:pt x="101" y="127"/>
                  <a:pt x="101" y="140"/>
                </a:cubicBezTo>
                <a:cubicBezTo>
                  <a:pt x="91" y="136"/>
                  <a:pt x="82" y="133"/>
                  <a:pt x="73" y="130"/>
                </a:cubicBezTo>
                <a:cubicBezTo>
                  <a:pt x="73" y="119"/>
                  <a:pt x="73" y="108"/>
                  <a:pt x="73" y="96"/>
                </a:cubicBezTo>
                <a:close/>
                <a:moveTo>
                  <a:pt x="108" y="56"/>
                </a:moveTo>
                <a:cubicBezTo>
                  <a:pt x="120" y="57"/>
                  <a:pt x="132" y="57"/>
                  <a:pt x="146" y="58"/>
                </a:cubicBezTo>
                <a:cubicBezTo>
                  <a:pt x="146" y="72"/>
                  <a:pt x="146" y="87"/>
                  <a:pt x="146" y="102"/>
                </a:cubicBezTo>
                <a:cubicBezTo>
                  <a:pt x="132" y="100"/>
                  <a:pt x="120" y="97"/>
                  <a:pt x="108" y="95"/>
                </a:cubicBezTo>
                <a:cubicBezTo>
                  <a:pt x="108" y="82"/>
                  <a:pt x="108" y="69"/>
                  <a:pt x="108" y="56"/>
                </a:cubicBezTo>
                <a:close/>
                <a:moveTo>
                  <a:pt x="73" y="55"/>
                </a:moveTo>
                <a:cubicBezTo>
                  <a:pt x="81" y="56"/>
                  <a:pt x="91" y="56"/>
                  <a:pt x="101" y="56"/>
                </a:cubicBezTo>
                <a:cubicBezTo>
                  <a:pt x="101" y="69"/>
                  <a:pt x="101" y="81"/>
                  <a:pt x="101" y="94"/>
                </a:cubicBezTo>
                <a:cubicBezTo>
                  <a:pt x="91" y="92"/>
                  <a:pt x="82" y="90"/>
                  <a:pt x="73" y="89"/>
                </a:cubicBezTo>
                <a:cubicBezTo>
                  <a:pt x="73" y="78"/>
                  <a:pt x="73" y="67"/>
                  <a:pt x="73" y="55"/>
                </a:cubicBezTo>
                <a:close/>
                <a:moveTo>
                  <a:pt x="108" y="9"/>
                </a:moveTo>
                <a:cubicBezTo>
                  <a:pt x="119" y="8"/>
                  <a:pt x="132" y="6"/>
                  <a:pt x="146" y="4"/>
                </a:cubicBezTo>
                <a:cubicBezTo>
                  <a:pt x="146" y="19"/>
                  <a:pt x="146" y="33"/>
                  <a:pt x="146" y="48"/>
                </a:cubicBezTo>
                <a:cubicBezTo>
                  <a:pt x="132" y="48"/>
                  <a:pt x="120" y="48"/>
                  <a:pt x="108" y="48"/>
                </a:cubicBezTo>
                <a:cubicBezTo>
                  <a:pt x="108" y="35"/>
                  <a:pt x="108" y="22"/>
                  <a:pt x="108" y="9"/>
                </a:cubicBezTo>
                <a:close/>
                <a:moveTo>
                  <a:pt x="73" y="14"/>
                </a:moveTo>
                <a:cubicBezTo>
                  <a:pt x="81" y="13"/>
                  <a:pt x="91" y="12"/>
                  <a:pt x="101" y="10"/>
                </a:cubicBezTo>
                <a:cubicBezTo>
                  <a:pt x="101" y="23"/>
                  <a:pt x="101" y="35"/>
                  <a:pt x="101" y="48"/>
                </a:cubicBezTo>
                <a:cubicBezTo>
                  <a:pt x="91" y="48"/>
                  <a:pt x="81" y="48"/>
                  <a:pt x="73" y="48"/>
                </a:cubicBezTo>
                <a:cubicBezTo>
                  <a:pt x="73" y="37"/>
                  <a:pt x="73" y="25"/>
                  <a:pt x="73" y="14"/>
                </a:cubicBezTo>
                <a:close/>
                <a:moveTo>
                  <a:pt x="0" y="83"/>
                </a:moveTo>
                <a:cubicBezTo>
                  <a:pt x="4" y="84"/>
                  <a:pt x="7" y="85"/>
                  <a:pt x="11" y="86"/>
                </a:cubicBezTo>
                <a:cubicBezTo>
                  <a:pt x="11" y="93"/>
                  <a:pt x="11" y="100"/>
                  <a:pt x="11" y="107"/>
                </a:cubicBezTo>
                <a:cubicBezTo>
                  <a:pt x="8" y="105"/>
                  <a:pt x="4" y="104"/>
                  <a:pt x="1" y="103"/>
                </a:cubicBezTo>
                <a:cubicBezTo>
                  <a:pt x="0" y="96"/>
                  <a:pt x="0" y="90"/>
                  <a:pt x="0" y="83"/>
                </a:cubicBezTo>
                <a:close/>
                <a:moveTo>
                  <a:pt x="15" y="84"/>
                </a:moveTo>
                <a:cubicBezTo>
                  <a:pt x="18" y="85"/>
                  <a:pt x="21" y="86"/>
                  <a:pt x="24" y="87"/>
                </a:cubicBezTo>
                <a:cubicBezTo>
                  <a:pt x="25" y="93"/>
                  <a:pt x="25" y="99"/>
                  <a:pt x="25" y="105"/>
                </a:cubicBezTo>
                <a:cubicBezTo>
                  <a:pt x="21" y="103"/>
                  <a:pt x="18" y="102"/>
                  <a:pt x="15" y="101"/>
                </a:cubicBezTo>
                <a:cubicBezTo>
                  <a:pt x="15" y="96"/>
                  <a:pt x="15" y="90"/>
                  <a:pt x="15" y="84"/>
                </a:cubicBezTo>
                <a:close/>
                <a:moveTo>
                  <a:pt x="33" y="83"/>
                </a:moveTo>
                <a:cubicBezTo>
                  <a:pt x="40" y="84"/>
                  <a:pt x="47" y="85"/>
                  <a:pt x="55" y="87"/>
                </a:cubicBezTo>
                <a:cubicBezTo>
                  <a:pt x="55" y="93"/>
                  <a:pt x="55" y="99"/>
                  <a:pt x="55" y="105"/>
                </a:cubicBezTo>
                <a:cubicBezTo>
                  <a:pt x="55" y="111"/>
                  <a:pt x="55" y="117"/>
                  <a:pt x="55" y="123"/>
                </a:cubicBezTo>
                <a:cubicBezTo>
                  <a:pt x="47" y="120"/>
                  <a:pt x="40" y="118"/>
                  <a:pt x="33" y="115"/>
                </a:cubicBezTo>
                <a:cubicBezTo>
                  <a:pt x="33" y="110"/>
                  <a:pt x="33" y="104"/>
                  <a:pt x="33" y="99"/>
                </a:cubicBezTo>
                <a:cubicBezTo>
                  <a:pt x="33" y="94"/>
                  <a:pt x="33" y="88"/>
                  <a:pt x="33" y="83"/>
                </a:cubicBezTo>
                <a:close/>
                <a:moveTo>
                  <a:pt x="36" y="57"/>
                </a:moveTo>
                <a:cubicBezTo>
                  <a:pt x="40" y="57"/>
                  <a:pt x="44" y="57"/>
                  <a:pt x="48" y="58"/>
                </a:cubicBezTo>
                <a:cubicBezTo>
                  <a:pt x="48" y="64"/>
                  <a:pt x="48" y="71"/>
                  <a:pt x="48" y="78"/>
                </a:cubicBezTo>
                <a:cubicBezTo>
                  <a:pt x="44" y="77"/>
                  <a:pt x="40" y="77"/>
                  <a:pt x="36" y="76"/>
                </a:cubicBezTo>
                <a:cubicBezTo>
                  <a:pt x="36" y="70"/>
                  <a:pt x="36" y="63"/>
                  <a:pt x="36" y="57"/>
                </a:cubicBezTo>
                <a:close/>
                <a:moveTo>
                  <a:pt x="13" y="50"/>
                </a:moveTo>
                <a:cubicBezTo>
                  <a:pt x="19" y="50"/>
                  <a:pt x="25" y="50"/>
                  <a:pt x="31" y="50"/>
                </a:cubicBezTo>
                <a:cubicBezTo>
                  <a:pt x="31" y="55"/>
                  <a:pt x="31" y="61"/>
                  <a:pt x="31" y="66"/>
                </a:cubicBezTo>
                <a:cubicBezTo>
                  <a:pt x="31" y="71"/>
                  <a:pt x="31" y="77"/>
                  <a:pt x="31" y="82"/>
                </a:cubicBezTo>
                <a:cubicBezTo>
                  <a:pt x="25" y="81"/>
                  <a:pt x="19" y="80"/>
                  <a:pt x="13" y="79"/>
                </a:cubicBezTo>
                <a:cubicBezTo>
                  <a:pt x="13" y="74"/>
                  <a:pt x="13" y="69"/>
                  <a:pt x="13" y="64"/>
                </a:cubicBezTo>
                <a:cubicBezTo>
                  <a:pt x="13" y="59"/>
                  <a:pt x="13" y="54"/>
                  <a:pt x="13" y="50"/>
                </a:cubicBezTo>
                <a:close/>
                <a:moveTo>
                  <a:pt x="4" y="57"/>
                </a:moveTo>
                <a:cubicBezTo>
                  <a:pt x="6" y="57"/>
                  <a:pt x="8" y="57"/>
                  <a:pt x="10" y="57"/>
                </a:cubicBezTo>
                <a:cubicBezTo>
                  <a:pt x="10" y="61"/>
                  <a:pt x="10" y="65"/>
                  <a:pt x="10" y="69"/>
                </a:cubicBezTo>
                <a:cubicBezTo>
                  <a:pt x="8" y="69"/>
                  <a:pt x="6" y="69"/>
                  <a:pt x="4" y="68"/>
                </a:cubicBezTo>
                <a:cubicBezTo>
                  <a:pt x="4" y="65"/>
                  <a:pt x="4" y="61"/>
                  <a:pt x="4" y="57"/>
                </a:cubicBezTo>
                <a:close/>
                <a:moveTo>
                  <a:pt x="11" y="33"/>
                </a:moveTo>
                <a:cubicBezTo>
                  <a:pt x="13" y="33"/>
                  <a:pt x="15" y="33"/>
                  <a:pt x="18" y="33"/>
                </a:cubicBezTo>
                <a:cubicBezTo>
                  <a:pt x="18" y="37"/>
                  <a:pt x="18" y="41"/>
                  <a:pt x="18" y="45"/>
                </a:cubicBezTo>
                <a:cubicBezTo>
                  <a:pt x="15" y="45"/>
                  <a:pt x="13" y="45"/>
                  <a:pt x="11" y="45"/>
                </a:cubicBezTo>
                <a:cubicBezTo>
                  <a:pt x="11" y="41"/>
                  <a:pt x="11" y="37"/>
                  <a:pt x="11" y="33"/>
                </a:cubicBezTo>
                <a:close/>
                <a:moveTo>
                  <a:pt x="37" y="20"/>
                </a:moveTo>
                <a:cubicBezTo>
                  <a:pt x="42" y="20"/>
                  <a:pt x="47" y="19"/>
                  <a:pt x="53" y="18"/>
                </a:cubicBezTo>
                <a:cubicBezTo>
                  <a:pt x="53" y="27"/>
                  <a:pt x="53" y="35"/>
                  <a:pt x="53" y="44"/>
                </a:cubicBezTo>
                <a:cubicBezTo>
                  <a:pt x="47" y="44"/>
                  <a:pt x="42" y="44"/>
                  <a:pt x="37" y="44"/>
                </a:cubicBezTo>
                <a:cubicBezTo>
                  <a:pt x="37" y="36"/>
                  <a:pt x="37" y="28"/>
                  <a:pt x="37" y="20"/>
                </a:cubicBezTo>
                <a:close/>
                <a:moveTo>
                  <a:pt x="22" y="24"/>
                </a:moveTo>
                <a:cubicBezTo>
                  <a:pt x="26" y="24"/>
                  <a:pt x="30" y="23"/>
                  <a:pt x="34" y="23"/>
                </a:cubicBezTo>
                <a:cubicBezTo>
                  <a:pt x="34" y="29"/>
                  <a:pt x="34" y="35"/>
                  <a:pt x="34" y="42"/>
                </a:cubicBezTo>
                <a:cubicBezTo>
                  <a:pt x="30" y="42"/>
                  <a:pt x="26" y="42"/>
                  <a:pt x="23" y="42"/>
                </a:cubicBezTo>
                <a:cubicBezTo>
                  <a:pt x="22" y="36"/>
                  <a:pt x="22" y="30"/>
                  <a:pt x="22" y="24"/>
                </a:cubicBezTo>
                <a:close/>
              </a:path>
            </a:pathLst>
          </a:custGeom>
          <a:solidFill>
            <a:srgbClr val="F3F4F7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AD1E6E-469A-464E-8995-70D252AACB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61000">
                <a:schemeClr val="bg1">
                  <a:alpha val="50000"/>
                </a:schemeClr>
              </a:gs>
              <a:gs pos="100000">
                <a:schemeClr val="bg1">
                  <a:alpha val="1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1687EA-BFFB-BC43-969A-1490C3D97E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ru-RU"/>
              <a:t>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5663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_2 (With sour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x-none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pPr algn="ctr">
                <a:defRPr/>
              </a:p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88077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633EF7B-9EEC-4EE5-939B-2FA4DD1D2A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4BF8E27-B1FC-465A-976C-153C3EE801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4EB46EE-F091-4204-A057-7A91BEB6D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AE7D48-C32B-4408-8A91-1DE9F4EF94C1}" type="datetimeFigureOut">
              <a:rPr lang="ru-RU" smtClean="0"/>
              <a:pPr/>
              <a:t>15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67CE07-D312-41D8-B28E-52DEFC10A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432E626-3958-4A1D-878C-4D397CD89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2B29E-F3D3-4AA5-A4FD-8F5B5BEB040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27483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5DB51C-22D4-CB1E-717F-53C377774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AFCF21-9D0F-9652-07FB-A9889739AD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9997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000" b="0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6244" y="388154"/>
            <a:ext cx="11520000" cy="3077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6244" y="146305"/>
            <a:ext cx="11520000" cy="184666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endParaRPr lang="ru-RU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50" y="6312181"/>
            <a:ext cx="11520488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24" indent="0" algn="ctr">
              <a:buNone/>
              <a:defRPr sz="2000"/>
            </a:lvl2pPr>
            <a:lvl3pPr marL="914446" indent="0" algn="ctr">
              <a:buNone/>
              <a:defRPr sz="1801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8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1 – </a:t>
            </a:r>
            <a:r>
              <a:rPr lang="ru-RU"/>
              <a:t>текст сноск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336245" y="6504109"/>
            <a:ext cx="9360000" cy="138499"/>
          </a:xfrm>
        </p:spPr>
        <p:txBody>
          <a:bodyPr wrap="square" anchor="t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Источник: анализ </a:t>
            </a:r>
            <a:r>
              <a:rPr lang="en-US"/>
              <a:t>Strategy Partner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7908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2649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0847" y="3121224"/>
            <a:ext cx="3694307" cy="615553"/>
          </a:xfrm>
        </p:spPr>
        <p:txBody>
          <a:bodyPr vert="horz" anchor="b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Заголовок</a:t>
            </a:r>
            <a:endParaRPr lang="en-RU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7A6154E-D906-D04B-9DF4-EEEF72614A4D}"/>
              </a:ext>
            </a:extLst>
          </p:cNvPr>
          <p:cNvGrpSpPr/>
          <p:nvPr userDrawn="1"/>
        </p:nvGrpSpPr>
        <p:grpSpPr>
          <a:xfrm>
            <a:off x="8312338" y="2978338"/>
            <a:ext cx="3879662" cy="3879662"/>
            <a:chOff x="7758019" y="2373607"/>
            <a:chExt cx="4125917" cy="4125917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CDA4508-FBF6-7B4F-A16E-0AC26D92015B}"/>
                </a:ext>
              </a:extLst>
            </p:cNvPr>
            <p:cNvSpPr/>
            <p:nvPr/>
          </p:nvSpPr>
          <p:spPr>
            <a:xfrm>
              <a:off x="10875215" y="2373607"/>
              <a:ext cx="1008720" cy="1008720"/>
            </a:xfrm>
            <a:custGeom>
              <a:avLst/>
              <a:gdLst>
                <a:gd name="connsiteX0" fmla="*/ 0 w 970325"/>
                <a:gd name="connsiteY0" fmla="*/ 0 h 970325"/>
                <a:gd name="connsiteX1" fmla="*/ 970325 w 970325"/>
                <a:gd name="connsiteY1" fmla="*/ 0 h 970325"/>
                <a:gd name="connsiteX2" fmla="*/ 970325 w 970325"/>
                <a:gd name="connsiteY2" fmla="*/ 970325 h 970325"/>
                <a:gd name="connsiteX3" fmla="*/ 0 w 970325"/>
                <a:gd name="connsiteY3" fmla="*/ 970325 h 97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325" h="970325">
                  <a:moveTo>
                    <a:pt x="0" y="0"/>
                  </a:moveTo>
                  <a:lnTo>
                    <a:pt x="970325" y="0"/>
                  </a:lnTo>
                  <a:lnTo>
                    <a:pt x="970325" y="970325"/>
                  </a:lnTo>
                  <a:lnTo>
                    <a:pt x="0" y="97032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6BE70485-2581-024F-A7F0-C6887C5EAA47}"/>
                </a:ext>
              </a:extLst>
            </p:cNvPr>
            <p:cNvSpPr/>
            <p:nvPr/>
          </p:nvSpPr>
          <p:spPr>
            <a:xfrm>
              <a:off x="7758019" y="5490803"/>
              <a:ext cx="1008720" cy="1008720"/>
            </a:xfrm>
            <a:custGeom>
              <a:avLst/>
              <a:gdLst>
                <a:gd name="connsiteX0" fmla="*/ 0 w 970325"/>
                <a:gd name="connsiteY0" fmla="*/ 0 h 970325"/>
                <a:gd name="connsiteX1" fmla="*/ 970325 w 970325"/>
                <a:gd name="connsiteY1" fmla="*/ 0 h 970325"/>
                <a:gd name="connsiteX2" fmla="*/ 970325 w 970325"/>
                <a:gd name="connsiteY2" fmla="*/ 970325 h 970325"/>
                <a:gd name="connsiteX3" fmla="*/ 0 w 970325"/>
                <a:gd name="connsiteY3" fmla="*/ 970325 h 97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325" h="970325">
                  <a:moveTo>
                    <a:pt x="0" y="0"/>
                  </a:moveTo>
                  <a:lnTo>
                    <a:pt x="970325" y="0"/>
                  </a:lnTo>
                  <a:lnTo>
                    <a:pt x="970325" y="970325"/>
                  </a:lnTo>
                  <a:lnTo>
                    <a:pt x="0" y="97032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17025CF4-7823-B849-9A42-07EEF4251D39}"/>
                </a:ext>
              </a:extLst>
            </p:cNvPr>
            <p:cNvSpPr/>
            <p:nvPr/>
          </p:nvSpPr>
          <p:spPr>
            <a:xfrm>
              <a:off x="8738562" y="2801604"/>
              <a:ext cx="588225" cy="588225"/>
            </a:xfrm>
            <a:custGeom>
              <a:avLst/>
              <a:gdLst>
                <a:gd name="connsiteX0" fmla="*/ 0 w 565835"/>
                <a:gd name="connsiteY0" fmla="*/ 0 h 565835"/>
                <a:gd name="connsiteX1" fmla="*/ 565836 w 565835"/>
                <a:gd name="connsiteY1" fmla="*/ 0 h 565835"/>
                <a:gd name="connsiteX2" fmla="*/ 565836 w 565835"/>
                <a:gd name="connsiteY2" fmla="*/ 565836 h 565835"/>
                <a:gd name="connsiteX3" fmla="*/ 0 w 565835"/>
                <a:gd name="connsiteY3" fmla="*/ 565836 h 565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5835" h="565835">
                  <a:moveTo>
                    <a:pt x="0" y="0"/>
                  </a:moveTo>
                  <a:lnTo>
                    <a:pt x="565836" y="0"/>
                  </a:lnTo>
                  <a:lnTo>
                    <a:pt x="565836" y="565836"/>
                  </a:lnTo>
                  <a:lnTo>
                    <a:pt x="0" y="56583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874D143E-7199-274E-A4B6-B07C8E902B59}"/>
                </a:ext>
              </a:extLst>
            </p:cNvPr>
            <p:cNvSpPr/>
            <p:nvPr/>
          </p:nvSpPr>
          <p:spPr>
            <a:xfrm>
              <a:off x="10699315" y="3898858"/>
              <a:ext cx="841489" cy="841489"/>
            </a:xfrm>
            <a:custGeom>
              <a:avLst/>
              <a:gdLst>
                <a:gd name="connsiteX0" fmla="*/ 0 w 809459"/>
                <a:gd name="connsiteY0" fmla="*/ 0 h 809459"/>
                <a:gd name="connsiteX1" fmla="*/ 809460 w 809459"/>
                <a:gd name="connsiteY1" fmla="*/ 0 h 809459"/>
                <a:gd name="connsiteX2" fmla="*/ 809460 w 809459"/>
                <a:gd name="connsiteY2" fmla="*/ 809460 h 809459"/>
                <a:gd name="connsiteX3" fmla="*/ 0 w 809459"/>
                <a:gd name="connsiteY3" fmla="*/ 809460 h 80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459" h="809459">
                  <a:moveTo>
                    <a:pt x="0" y="0"/>
                  </a:moveTo>
                  <a:lnTo>
                    <a:pt x="809460" y="0"/>
                  </a:lnTo>
                  <a:lnTo>
                    <a:pt x="809460" y="809460"/>
                  </a:lnTo>
                  <a:lnTo>
                    <a:pt x="0" y="809460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0D4BADA9-955C-D246-B4EF-080C5AF9DAD5}"/>
                </a:ext>
              </a:extLst>
            </p:cNvPr>
            <p:cNvSpPr/>
            <p:nvPr/>
          </p:nvSpPr>
          <p:spPr>
            <a:xfrm>
              <a:off x="9068355" y="5271553"/>
              <a:ext cx="841489" cy="841489"/>
            </a:xfrm>
            <a:custGeom>
              <a:avLst/>
              <a:gdLst>
                <a:gd name="connsiteX0" fmla="*/ 0 w 809459"/>
                <a:gd name="connsiteY0" fmla="*/ 0 h 809459"/>
                <a:gd name="connsiteX1" fmla="*/ 809460 w 809459"/>
                <a:gd name="connsiteY1" fmla="*/ 0 h 809459"/>
                <a:gd name="connsiteX2" fmla="*/ 809460 w 809459"/>
                <a:gd name="connsiteY2" fmla="*/ 809460 h 809459"/>
                <a:gd name="connsiteX3" fmla="*/ 0 w 809459"/>
                <a:gd name="connsiteY3" fmla="*/ 809460 h 80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459" h="809459">
                  <a:moveTo>
                    <a:pt x="0" y="0"/>
                  </a:moveTo>
                  <a:lnTo>
                    <a:pt x="809460" y="0"/>
                  </a:lnTo>
                  <a:lnTo>
                    <a:pt x="809460" y="809460"/>
                  </a:lnTo>
                  <a:lnTo>
                    <a:pt x="0" y="809460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025D8423-5F63-6F49-99C9-4DF90B8A1151}"/>
                </a:ext>
              </a:extLst>
            </p:cNvPr>
            <p:cNvSpPr/>
            <p:nvPr/>
          </p:nvSpPr>
          <p:spPr>
            <a:xfrm>
              <a:off x="8023787" y="3987392"/>
              <a:ext cx="624072" cy="624072"/>
            </a:xfrm>
            <a:custGeom>
              <a:avLst/>
              <a:gdLst>
                <a:gd name="connsiteX0" fmla="*/ 0 w 600318"/>
                <a:gd name="connsiteY0" fmla="*/ 0 h 600318"/>
                <a:gd name="connsiteX1" fmla="*/ 600319 w 600318"/>
                <a:gd name="connsiteY1" fmla="*/ 0 h 600318"/>
                <a:gd name="connsiteX2" fmla="*/ 600319 w 600318"/>
                <a:gd name="connsiteY2" fmla="*/ 600319 h 600318"/>
                <a:gd name="connsiteX3" fmla="*/ 0 w 600318"/>
                <a:gd name="connsiteY3" fmla="*/ 600319 h 600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318" h="600318">
                  <a:moveTo>
                    <a:pt x="0" y="0"/>
                  </a:moveTo>
                  <a:lnTo>
                    <a:pt x="600319" y="0"/>
                  </a:lnTo>
                  <a:lnTo>
                    <a:pt x="600319" y="600319"/>
                  </a:lnTo>
                  <a:lnTo>
                    <a:pt x="0" y="600319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6C56157B-050A-C845-94B7-4FF34DE05834}"/>
                </a:ext>
              </a:extLst>
            </p:cNvPr>
            <p:cNvSpPr/>
            <p:nvPr/>
          </p:nvSpPr>
          <p:spPr>
            <a:xfrm>
              <a:off x="8875947" y="3536053"/>
              <a:ext cx="1471064" cy="1471064"/>
            </a:xfrm>
            <a:custGeom>
              <a:avLst/>
              <a:gdLst>
                <a:gd name="connsiteX0" fmla="*/ 0 w 1415070"/>
                <a:gd name="connsiteY0" fmla="*/ 0 h 1415070"/>
                <a:gd name="connsiteX1" fmla="*/ 1415071 w 1415070"/>
                <a:gd name="connsiteY1" fmla="*/ 0 h 1415070"/>
                <a:gd name="connsiteX2" fmla="*/ 1415071 w 1415070"/>
                <a:gd name="connsiteY2" fmla="*/ 1415071 h 1415070"/>
                <a:gd name="connsiteX3" fmla="*/ 0 w 1415070"/>
                <a:gd name="connsiteY3" fmla="*/ 1415071 h 141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5070" h="1415070">
                  <a:moveTo>
                    <a:pt x="0" y="0"/>
                  </a:moveTo>
                  <a:lnTo>
                    <a:pt x="1415071" y="0"/>
                  </a:lnTo>
                  <a:lnTo>
                    <a:pt x="1415071" y="1415071"/>
                  </a:lnTo>
                  <a:lnTo>
                    <a:pt x="0" y="1415071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3F3461D8-4E1B-F346-ABF9-7869F6A279EC}"/>
                </a:ext>
              </a:extLst>
            </p:cNvPr>
            <p:cNvSpPr/>
            <p:nvPr/>
          </p:nvSpPr>
          <p:spPr>
            <a:xfrm>
              <a:off x="10476562" y="5092150"/>
              <a:ext cx="1407374" cy="1407374"/>
            </a:xfrm>
            <a:custGeom>
              <a:avLst/>
              <a:gdLst>
                <a:gd name="connsiteX0" fmla="*/ 0 w 1353804"/>
                <a:gd name="connsiteY0" fmla="*/ 0 h 1353804"/>
                <a:gd name="connsiteX1" fmla="*/ 1353804 w 1353804"/>
                <a:gd name="connsiteY1" fmla="*/ 0 h 1353804"/>
                <a:gd name="connsiteX2" fmla="*/ 1353804 w 1353804"/>
                <a:gd name="connsiteY2" fmla="*/ 1353804 h 1353804"/>
                <a:gd name="connsiteX3" fmla="*/ 0 w 1353804"/>
                <a:gd name="connsiteY3" fmla="*/ 1353804 h 1353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804" h="1353804">
                  <a:moveTo>
                    <a:pt x="0" y="0"/>
                  </a:moveTo>
                  <a:lnTo>
                    <a:pt x="1353804" y="0"/>
                  </a:lnTo>
                  <a:lnTo>
                    <a:pt x="1353804" y="1353804"/>
                  </a:lnTo>
                  <a:lnTo>
                    <a:pt x="0" y="1353804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BC7B5B3-EE82-1A4D-A243-37ECBAFABA2B}"/>
                </a:ext>
              </a:extLst>
            </p:cNvPr>
            <p:cNvSpPr/>
            <p:nvPr/>
          </p:nvSpPr>
          <p:spPr>
            <a:xfrm>
              <a:off x="7758019" y="2373607"/>
              <a:ext cx="765960" cy="765960"/>
            </a:xfrm>
            <a:custGeom>
              <a:avLst/>
              <a:gdLst>
                <a:gd name="connsiteX0" fmla="*/ 0 w 736805"/>
                <a:gd name="connsiteY0" fmla="*/ 0 h 736805"/>
                <a:gd name="connsiteX1" fmla="*/ 736806 w 736805"/>
                <a:gd name="connsiteY1" fmla="*/ 0 h 736805"/>
                <a:gd name="connsiteX2" fmla="*/ 736806 w 736805"/>
                <a:gd name="connsiteY2" fmla="*/ 736806 h 736805"/>
                <a:gd name="connsiteX3" fmla="*/ 0 w 736805"/>
                <a:gd name="connsiteY3" fmla="*/ 736806 h 73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6805" h="736805">
                  <a:moveTo>
                    <a:pt x="0" y="0"/>
                  </a:moveTo>
                  <a:lnTo>
                    <a:pt x="736806" y="0"/>
                  </a:lnTo>
                  <a:lnTo>
                    <a:pt x="736806" y="736806"/>
                  </a:lnTo>
                  <a:lnTo>
                    <a:pt x="0" y="7368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3C32989-2C0A-0C47-AC10-0F9572F4991B}"/>
                </a:ext>
              </a:extLst>
            </p:cNvPr>
            <p:cNvSpPr/>
            <p:nvPr/>
          </p:nvSpPr>
          <p:spPr>
            <a:xfrm>
              <a:off x="9747282" y="2494986"/>
              <a:ext cx="765960" cy="765960"/>
            </a:xfrm>
            <a:custGeom>
              <a:avLst/>
              <a:gdLst>
                <a:gd name="connsiteX0" fmla="*/ 0 w 736805"/>
                <a:gd name="connsiteY0" fmla="*/ 0 h 736805"/>
                <a:gd name="connsiteX1" fmla="*/ 736806 w 736805"/>
                <a:gd name="connsiteY1" fmla="*/ 0 h 736805"/>
                <a:gd name="connsiteX2" fmla="*/ 736806 w 736805"/>
                <a:gd name="connsiteY2" fmla="*/ 736806 h 736805"/>
                <a:gd name="connsiteX3" fmla="*/ 0 w 736805"/>
                <a:gd name="connsiteY3" fmla="*/ 736806 h 73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6805" h="736805">
                  <a:moveTo>
                    <a:pt x="0" y="0"/>
                  </a:moveTo>
                  <a:lnTo>
                    <a:pt x="736806" y="0"/>
                  </a:lnTo>
                  <a:lnTo>
                    <a:pt x="736806" y="736806"/>
                  </a:lnTo>
                  <a:lnTo>
                    <a:pt x="0" y="7368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5AB7332F-FCFD-6647-BAE6-0B153115D912}"/>
              </a:ext>
            </a:extLst>
          </p:cNvPr>
          <p:cNvSpPr/>
          <p:nvPr userDrawn="1"/>
        </p:nvSpPr>
        <p:spPr>
          <a:xfrm>
            <a:off x="6095999" y="0"/>
            <a:ext cx="6096001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RU" sz="1400" b="1"/>
          </a:p>
        </p:txBody>
      </p:sp>
    </p:spTree>
    <p:extLst>
      <p:ext uri="{BB962C8B-B14F-4D97-AF65-F5344CB8AC3E}">
        <p14:creationId xmlns:p14="http://schemas.microsoft.com/office/powerpoint/2010/main" val="34065801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">
    <p:bg>
      <p:bgPr>
        <a:gradFill>
          <a:gsLst>
            <a:gs pos="39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24860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rrow: Pentagon 32">
            <a:extLst>
              <a:ext uri="{FF2B5EF4-FFF2-40B4-BE49-F238E27FC236}">
                <a16:creationId xmlns:a16="http://schemas.microsoft.com/office/drawing/2014/main" id="{99DAB22F-91D8-404E-BFA7-58AA16117896}"/>
              </a:ext>
            </a:extLst>
          </p:cNvPr>
          <p:cNvSpPr/>
          <p:nvPr userDrawn="1"/>
        </p:nvSpPr>
        <p:spPr>
          <a:xfrm>
            <a:off x="0" y="448"/>
            <a:ext cx="8298194" cy="6857552"/>
          </a:xfrm>
          <a:prstGeom prst="homePlate">
            <a:avLst>
              <a:gd name="adj" fmla="val 9677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6260169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4706358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34470EC-990B-F141-8469-775FC523B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22528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34470EC-990B-F141-8469-775FC523B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B53E1A4D-FDB2-8546-853D-32EE81F32263}"/>
              </a:ext>
            </a:extLst>
          </p:cNvPr>
          <p:cNvSpPr/>
          <p:nvPr userDrawn="1"/>
        </p:nvSpPr>
        <p:spPr>
          <a:xfrm>
            <a:off x="0" y="0"/>
            <a:ext cx="4069629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RU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3B9391-7C88-F840-833E-B7D60DB63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3092669" cy="4372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D290833-E380-9144-921E-7981C45A8E00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28" name="TextBox 1">
            <a:extLst>
              <a:ext uri="{FF2B5EF4-FFF2-40B4-BE49-F238E27FC236}">
                <a16:creationId xmlns:a16="http://schemas.microsoft.com/office/drawing/2014/main" id="{C70A0AE9-9071-C247-85CC-AA9C40D7F03D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EB2A947-B59F-4641-A9AC-86F90A23A2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2264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34470EC-990B-F141-8469-775FC523B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03338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34470EC-990B-F141-8469-775FC523B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B53E1A4D-FDB2-8546-853D-32EE81F32263}"/>
              </a:ext>
            </a:extLst>
          </p:cNvPr>
          <p:cNvSpPr/>
          <p:nvPr userDrawn="1"/>
        </p:nvSpPr>
        <p:spPr>
          <a:xfrm>
            <a:off x="8122371" y="0"/>
            <a:ext cx="4069629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RU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3B9391-7C88-F840-833E-B7D60DB63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7066800" cy="437236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4257CBA9-8590-AE43-8CB4-9C9EDD1224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6366735"/>
            <a:ext cx="7066800" cy="153888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Trebuchet MS" panose="020B0703020202090204" pitchFamily="34" charset="0"/>
                <a:ea typeface="ＭＳ Ｐゴシック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ru-RU"/>
              <a:t>Источни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2995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-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53033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3750CABC-2070-3045-9979-5EB6FF8AA8B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664784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12181EAB-F7DD-9E41-87E1-36C960A5949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86303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1C4B0EEE-BB90-6E4F-BD1C-F5D4DAC2606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07821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BEF81ACC-E8D8-A84D-A3FF-79C0E8DFA0A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9342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5BC5280-07C4-5648-8F89-3AB2A146E15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3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en-RU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DEC1154-29E1-4843-A9B8-8161644685E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6623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21" Type="http://schemas.openxmlformats.org/officeDocument/2006/relationships/oleObject" Target="../embeddings/oleObject15.bin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ags" Target="../tags/tag20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19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tags" Target="../tags/tag36.x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10.emf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oleObject" Target="../embeddings/oleObject16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tags" Target="../tags/tag37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04C95AC-6044-4FAF-AEE8-A6E557FBEB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04000069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0" imgW="421" imgH="423" progId="TCLayout.ActiveDocument.1">
                  <p:embed/>
                </p:oleObj>
              </mc:Choice>
              <mc:Fallback>
                <p:oleObj name="Слайд think-cell" r:id="rId20" imgW="421" imgH="423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04C95AC-6044-4FAF-AEE8-A6E557FBE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C58F396-1F3F-4AF1-A963-C32EEC8CFF57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2"/>
            <a:ext cx="195384" cy="1587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ru-RU" sz="2800" b="1" i="0" baseline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50863" y="388177"/>
            <a:ext cx="11090274" cy="437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Заголовок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56C80EA-B456-BA4C-9C94-629D47088F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400692"/>
            <a:ext cx="11090275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29" r:id="rId1"/>
    <p:sldLayoutId id="2147484430" r:id="rId2"/>
    <p:sldLayoutId id="2147484385" r:id="rId3"/>
    <p:sldLayoutId id="2147484437" r:id="rId4"/>
    <p:sldLayoutId id="2147484431" r:id="rId5"/>
    <p:sldLayoutId id="2147484436" r:id="rId6"/>
    <p:sldLayoutId id="2147484389" r:id="rId7"/>
    <p:sldLayoutId id="2147484426" r:id="rId8"/>
    <p:sldLayoutId id="2147484427" r:id="rId9"/>
    <p:sldLayoutId id="2147484425" r:id="rId10"/>
    <p:sldLayoutId id="2147484423" r:id="rId11"/>
    <p:sldLayoutId id="2147484405" r:id="rId12"/>
    <p:sldLayoutId id="2147484438" r:id="rId13"/>
    <p:sldLayoutId id="2147484439" r:id="rId14"/>
    <p:sldLayoutId id="2147484440" r:id="rId15"/>
    <p:sldLayoutId id="2147484441" r:id="rId16"/>
  </p:sldLayoutIdLst>
  <p:hf hdr="0" dt="0"/>
  <p:txStyles>
    <p:title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800" b="1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5pPr>
      <a:lvl6pPr marL="495261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6pPr>
      <a:lvl7pPr marL="990522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7pPr>
      <a:lvl8pPr marL="1485782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8pPr>
      <a:lvl9pPr marL="1981040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ts val="300"/>
        </a:spcAft>
        <a:buClr>
          <a:schemeClr val="hlink"/>
        </a:buClr>
        <a:buFont typeface="Arial" charset="0"/>
        <a:buNone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216000" indent="-216000" algn="l" rtl="0" eaLnBrk="0" fontAlgn="base" hangingPunct="0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Lucida Grande Bold" panose="020B0600040502020204" pitchFamily="34" charset="0"/>
        <a:buChar char="▪"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432000" indent="-216000" algn="l" rtl="0" eaLnBrk="0" fontAlgn="base" hangingPunct="0">
        <a:spcBef>
          <a:spcPts val="0"/>
        </a:spcBef>
        <a:spcAft>
          <a:spcPts val="800"/>
        </a:spcAft>
        <a:buClr>
          <a:schemeClr val="accent1"/>
        </a:buClr>
        <a:buSzPct val="130000"/>
        <a:buFont typeface="System Font Regular"/>
        <a:buChar char="–"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0" indent="0" algn="l" rtl="0" eaLnBrk="0" fontAlgn="base" hangingPunct="0">
        <a:spcBef>
          <a:spcPts val="300"/>
        </a:spcBef>
        <a:spcAft>
          <a:spcPts val="300"/>
        </a:spcAft>
        <a:buClr>
          <a:schemeClr val="hlink"/>
        </a:buClr>
        <a:buSzPct val="130000"/>
        <a:buFont typeface="Lucida Grande" panose="020B0600040502020204" pitchFamily="34" charset="0"/>
        <a:buNone/>
        <a:defRPr sz="1600" b="0" i="0">
          <a:solidFill>
            <a:schemeClr val="accent1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0" indent="0" algn="l" rtl="0" eaLnBrk="0" fontAlgn="base" hangingPunct="0">
        <a:spcBef>
          <a:spcPts val="300"/>
        </a:spcBef>
        <a:spcAft>
          <a:spcPts val="300"/>
        </a:spcAft>
        <a:buClr>
          <a:schemeClr val="hlink"/>
        </a:buClr>
        <a:buFont typeface="Arial" charset="0"/>
        <a:buNone/>
        <a:defRPr sz="1600" b="0" i="0">
          <a:solidFill>
            <a:schemeClr val="accent6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723931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6pPr>
      <a:lvl7pPr marL="3219190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7pPr>
      <a:lvl8pPr marL="3714450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8pPr>
      <a:lvl9pPr marL="4209709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6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522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782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104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30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82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208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 userDrawn="1">
          <p15:clr>
            <a:srgbClr val="F26B43"/>
          </p15:clr>
        </p15:guide>
        <p15:guide id="2" pos="347" userDrawn="1">
          <p15:clr>
            <a:srgbClr val="F26B43"/>
          </p15:clr>
        </p15:guide>
        <p15:guide id="3" orient="horz" pos="278" userDrawn="1">
          <p15:clr>
            <a:srgbClr val="F26B43"/>
          </p15:clr>
        </p15:guide>
        <p15:guide id="4" pos="733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04C95AC-6044-4FAF-AEE8-A6E557FBEB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20516271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1" imgW="421" imgH="423" progId="TCLayout.ActiveDocument.1">
                  <p:embed/>
                </p:oleObj>
              </mc:Choice>
              <mc:Fallback>
                <p:oleObj name="Слайд think-cell" r:id="rId21" imgW="421" imgH="423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04C95AC-6044-4FAF-AEE8-A6E557FBE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C58F396-1F3F-4AF1-A963-C32EEC8CFF57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2"/>
            <a:ext cx="195384" cy="1587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ru-RU" sz="2800" b="1" i="0" baseline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50863" y="388177"/>
            <a:ext cx="11090274" cy="437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Заголовок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56C80EA-B456-BA4C-9C94-629D47088F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400692"/>
            <a:ext cx="11090275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566833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  <p:sldLayoutId id="2147484449" r:id="rId7"/>
    <p:sldLayoutId id="2147484450" r:id="rId8"/>
    <p:sldLayoutId id="2147484451" r:id="rId9"/>
    <p:sldLayoutId id="2147484452" r:id="rId10"/>
    <p:sldLayoutId id="2147484453" r:id="rId11"/>
    <p:sldLayoutId id="2147484454" r:id="rId12"/>
    <p:sldLayoutId id="2147484455" r:id="rId13"/>
    <p:sldLayoutId id="2147484456" r:id="rId14"/>
    <p:sldLayoutId id="2147484457" r:id="rId15"/>
    <p:sldLayoutId id="2147484458" r:id="rId16"/>
    <p:sldLayoutId id="2147484476" r:id="rId17"/>
  </p:sldLayoutIdLst>
  <p:hf hdr="0" dt="0"/>
  <p:txStyles>
    <p:title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800" b="1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5pPr>
      <a:lvl6pPr marL="495261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6pPr>
      <a:lvl7pPr marL="990522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7pPr>
      <a:lvl8pPr marL="1485782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8pPr>
      <a:lvl9pPr marL="1981040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ts val="300"/>
        </a:spcAft>
        <a:buClr>
          <a:schemeClr val="hlink"/>
        </a:buClr>
        <a:buFont typeface="Arial" charset="0"/>
        <a:buNone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216000" indent="-216000" algn="l" rtl="0" eaLnBrk="0" fontAlgn="base" hangingPunct="0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Lucida Grande Bold" panose="020B0600040502020204" pitchFamily="34" charset="0"/>
        <a:buChar char="▪"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432000" indent="-216000" algn="l" rtl="0" eaLnBrk="0" fontAlgn="base" hangingPunct="0">
        <a:spcBef>
          <a:spcPts val="0"/>
        </a:spcBef>
        <a:spcAft>
          <a:spcPts val="800"/>
        </a:spcAft>
        <a:buClr>
          <a:schemeClr val="accent1"/>
        </a:buClr>
        <a:buSzPct val="130000"/>
        <a:buFont typeface="System Font Regular"/>
        <a:buChar char="–"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0" indent="0" algn="l" rtl="0" eaLnBrk="0" fontAlgn="base" hangingPunct="0">
        <a:spcBef>
          <a:spcPts val="300"/>
        </a:spcBef>
        <a:spcAft>
          <a:spcPts val="300"/>
        </a:spcAft>
        <a:buClr>
          <a:schemeClr val="hlink"/>
        </a:buClr>
        <a:buSzPct val="130000"/>
        <a:buFont typeface="Lucida Grande" panose="020B0600040502020204" pitchFamily="34" charset="0"/>
        <a:buNone/>
        <a:defRPr sz="1600" b="0" i="0">
          <a:solidFill>
            <a:schemeClr val="accent1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0" indent="0" algn="l" rtl="0" eaLnBrk="0" fontAlgn="base" hangingPunct="0">
        <a:spcBef>
          <a:spcPts val="300"/>
        </a:spcBef>
        <a:spcAft>
          <a:spcPts val="300"/>
        </a:spcAft>
        <a:buClr>
          <a:schemeClr val="hlink"/>
        </a:buClr>
        <a:buFont typeface="Arial" charset="0"/>
        <a:buNone/>
        <a:defRPr sz="1600" b="0" i="0">
          <a:solidFill>
            <a:schemeClr val="accent6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723931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6pPr>
      <a:lvl7pPr marL="3219190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7pPr>
      <a:lvl8pPr marL="3714450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8pPr>
      <a:lvl9pPr marL="4209709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6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522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782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104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30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82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208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>
          <p15:clr>
            <a:srgbClr val="F26B43"/>
          </p15:clr>
        </p15:guide>
        <p15:guide id="2" pos="347">
          <p15:clr>
            <a:srgbClr val="F26B43"/>
          </p15:clr>
        </p15:guide>
        <p15:guide id="3" orient="horz" pos="278">
          <p15:clr>
            <a:srgbClr val="F26B43"/>
          </p15:clr>
        </p15:guide>
        <p15:guide id="4" pos="733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F4D4C1C1-9280-BFDE-33A0-B9208A841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699855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0" imgW="425" imgH="424" progId="TCLayout.ActiveDocument.1">
                  <p:embed/>
                </p:oleObj>
              </mc:Choice>
              <mc:Fallback>
                <p:oleObj name="Слайд think-cell" r:id="rId20" imgW="425" imgH="424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F4D4C1C1-9280-BFDE-33A0-B9208A841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C58F396-1F3F-4AF1-A963-C32EEC8CFF57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2"/>
            <a:ext cx="195384" cy="1587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ru-RU" sz="2800" b="1" i="0" baseline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50863" y="388177"/>
            <a:ext cx="11090274" cy="437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Заголовок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56C80EA-B456-BA4C-9C94-629D47088F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400692"/>
            <a:ext cx="11090275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269181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0" r:id="rId1"/>
    <p:sldLayoutId id="2147484461" r:id="rId2"/>
    <p:sldLayoutId id="2147484462" r:id="rId3"/>
    <p:sldLayoutId id="2147484463" r:id="rId4"/>
    <p:sldLayoutId id="2147484464" r:id="rId5"/>
    <p:sldLayoutId id="2147484465" r:id="rId6"/>
    <p:sldLayoutId id="2147484466" r:id="rId7"/>
    <p:sldLayoutId id="2147484467" r:id="rId8"/>
    <p:sldLayoutId id="2147484468" r:id="rId9"/>
    <p:sldLayoutId id="2147484469" r:id="rId10"/>
    <p:sldLayoutId id="2147484470" r:id="rId11"/>
    <p:sldLayoutId id="2147484471" r:id="rId12"/>
    <p:sldLayoutId id="2147484472" r:id="rId13"/>
    <p:sldLayoutId id="2147484473" r:id="rId14"/>
    <p:sldLayoutId id="2147484474" r:id="rId15"/>
    <p:sldLayoutId id="2147484475" r:id="rId16"/>
  </p:sldLayoutIdLst>
  <p:hf hdr="0" dt="0"/>
  <p:txStyles>
    <p:title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800" b="1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5pPr>
      <a:lvl6pPr marL="495261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6pPr>
      <a:lvl7pPr marL="990522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7pPr>
      <a:lvl8pPr marL="1485782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8pPr>
      <a:lvl9pPr marL="1981040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ts val="300"/>
        </a:spcAft>
        <a:buClr>
          <a:schemeClr val="hlink"/>
        </a:buClr>
        <a:buFont typeface="Arial" charset="0"/>
        <a:buNone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216000" indent="-216000" algn="l" rtl="0" eaLnBrk="0" fontAlgn="base" hangingPunct="0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Lucida Grande Bold" panose="020B0600040502020204" pitchFamily="34" charset="0"/>
        <a:buChar char="▪"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432000" indent="-216000" algn="l" rtl="0" eaLnBrk="0" fontAlgn="base" hangingPunct="0">
        <a:spcBef>
          <a:spcPts val="0"/>
        </a:spcBef>
        <a:spcAft>
          <a:spcPts val="800"/>
        </a:spcAft>
        <a:buClr>
          <a:schemeClr val="accent1"/>
        </a:buClr>
        <a:buSzPct val="130000"/>
        <a:buFont typeface="System Font Regular"/>
        <a:buChar char="–"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0" indent="0" algn="l" rtl="0" eaLnBrk="0" fontAlgn="base" hangingPunct="0">
        <a:spcBef>
          <a:spcPts val="300"/>
        </a:spcBef>
        <a:spcAft>
          <a:spcPts val="300"/>
        </a:spcAft>
        <a:buClr>
          <a:schemeClr val="hlink"/>
        </a:buClr>
        <a:buSzPct val="130000"/>
        <a:buFont typeface="Lucida Grande" panose="020B0600040502020204" pitchFamily="34" charset="0"/>
        <a:buNone/>
        <a:defRPr sz="1600" b="0" i="0">
          <a:solidFill>
            <a:schemeClr val="accent1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0" indent="0" algn="l" rtl="0" eaLnBrk="0" fontAlgn="base" hangingPunct="0">
        <a:spcBef>
          <a:spcPts val="300"/>
        </a:spcBef>
        <a:spcAft>
          <a:spcPts val="300"/>
        </a:spcAft>
        <a:buClr>
          <a:schemeClr val="hlink"/>
        </a:buClr>
        <a:buFont typeface="Arial" charset="0"/>
        <a:buNone/>
        <a:defRPr sz="1600" b="0" i="0">
          <a:solidFill>
            <a:schemeClr val="accent6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723931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6pPr>
      <a:lvl7pPr marL="3219190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7pPr>
      <a:lvl8pPr marL="3714450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8pPr>
      <a:lvl9pPr marL="4209709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6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522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782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104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30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82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208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>
          <p15:clr>
            <a:srgbClr val="F26B43"/>
          </p15:clr>
        </p15:guide>
        <p15:guide id="2" pos="347">
          <p15:clr>
            <a:srgbClr val="F26B43"/>
          </p15:clr>
        </p15:guide>
        <p15:guide id="3" orient="horz" pos="278">
          <p15:clr>
            <a:srgbClr val="F26B43"/>
          </p15:clr>
        </p15:guide>
        <p15:guide id="4" pos="73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9.xml"/><Relationship Id="rId4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40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4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4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4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4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45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4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Институт проблем правового регулирования"/>
          <p:cNvSpPr txBox="1">
            <a:spLocks noGrp="1"/>
          </p:cNvSpPr>
          <p:nvPr>
            <p:ph type="body" idx="21"/>
          </p:nvPr>
        </p:nvSpPr>
        <p:spPr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SzTx/>
              <a:buFontTx/>
              <a:buNone/>
              <a:defRPr sz="16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dirty="0" err="1"/>
              <a:t>Институт</a:t>
            </a:r>
            <a:r>
              <a:rPr dirty="0"/>
              <a:t> </a:t>
            </a:r>
            <a:r>
              <a:rPr dirty="0" err="1"/>
              <a:t>проблем</a:t>
            </a:r>
            <a:r>
              <a:rPr dirty="0"/>
              <a:t> </a:t>
            </a:r>
            <a:r>
              <a:rPr dirty="0" err="1"/>
              <a:t>правового</a:t>
            </a:r>
            <a:r>
              <a:rPr dirty="0"/>
              <a:t> </a:t>
            </a:r>
            <a:r>
              <a:rPr dirty="0" err="1"/>
              <a:t>регулирования</a:t>
            </a:r>
            <a:endParaRPr dirty="0"/>
          </a:p>
        </p:txBody>
      </p:sp>
      <p:sp>
        <p:nvSpPr>
          <p:cNvPr id="199" name="ТЗ-201"/>
          <p:cNvSpPr txBox="1">
            <a:spLocks noGrp="1"/>
          </p:cNvSpPr>
          <p:nvPr>
            <p:ph type="body" idx="22"/>
          </p:nvPr>
        </p:nvSpPr>
        <p:spPr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SzTx/>
              <a:buFontTx/>
              <a:buNone/>
              <a:defRPr sz="12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en-US" sz="1600" dirty="0" err="1"/>
              <a:t>tldcon</a:t>
            </a:r>
            <a:r>
              <a:rPr lang="en-US" sz="1600" dirty="0"/>
              <a:t> 2025</a:t>
            </a:r>
            <a:endParaRPr sz="1600" dirty="0"/>
          </a:p>
        </p:txBody>
      </p:sp>
      <p:sp>
        <p:nvSpPr>
          <p:cNvPr id="200" name="Москва 2022"/>
          <p:cNvSpPr txBox="1">
            <a:spLocks noGrp="1"/>
          </p:cNvSpPr>
          <p:nvPr>
            <p:ph type="body" idx="23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lnSpc>
                <a:spcPct val="80000"/>
              </a:lnSpc>
              <a:spcBef>
                <a:spcPts val="0"/>
              </a:spcBef>
              <a:buSzTx/>
              <a:buFontTx/>
              <a:buNone/>
              <a:defRPr sz="1200">
                <a:latin typeface="+mn-lt"/>
                <a:ea typeface="+mn-ea"/>
                <a:cs typeface="+mn-cs"/>
                <a:sym typeface="Helvetica"/>
              </a:defRPr>
            </a:pPr>
            <a:r>
              <a:rPr lang="ru-RU" dirty="0"/>
              <a:t>Калиниград,</a:t>
            </a:r>
            <a:br>
              <a:rPr dirty="0"/>
            </a:br>
            <a:r>
              <a:rPr dirty="0"/>
              <a:t>202</a:t>
            </a:r>
            <a:r>
              <a:rPr lang="ru-RU" dirty="0"/>
              <a:t>5</a:t>
            </a:r>
            <a:endParaRPr dirty="0"/>
          </a:p>
        </p:txBody>
      </p:sp>
      <p:sp>
        <p:nvSpPr>
          <p:cNvPr id="201" name="Обеспечение реализации фундаментальных прав человека в цифровой среде"/>
          <p:cNvSpPr txBox="1">
            <a:spLocks noGrp="1"/>
          </p:cNvSpPr>
          <p:nvPr>
            <p:ph type="body" idx="24"/>
          </p:nvPr>
        </p:nvSpPr>
        <p:spPr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buSzTx/>
              <a:buFontTx/>
              <a:buNone/>
              <a:defRPr sz="4300">
                <a:solidFill>
                  <a:srgbClr val="172C65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ru-RU" sz="3400" dirty="0"/>
              <a:t>Тренды регулирования Интернета: Россия и мировой опыт – есть ли точки соприкосновения</a:t>
            </a:r>
          </a:p>
        </p:txBody>
      </p:sp>
      <p:sp>
        <p:nvSpPr>
          <p:cNvPr id="202" name="уважение частной жизни;…"/>
          <p:cNvSpPr txBox="1">
            <a:spLocks noGrp="1"/>
          </p:cNvSpPr>
          <p:nvPr>
            <p:ph type="body" idx="25"/>
          </p:nvPr>
        </p:nvSpPr>
        <p:spPr>
          <a:xfrm>
            <a:off x="1122718" y="4482667"/>
            <a:ext cx="4997854" cy="886500"/>
          </a:xfrm>
          <a:prstGeom prst="rect">
            <a:avLst/>
          </a:prstGeom>
        </p:spPr>
        <p:txBody>
          <a:bodyPr/>
          <a:lstStyle/>
          <a:p>
            <a:pPr marL="0" indent="0" algn="just" defTabSz="45720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466">
                <a:latin typeface="+mn-lt"/>
                <a:ea typeface="+mn-ea"/>
                <a:cs typeface="+mn-cs"/>
                <a:sym typeface="Helvetica"/>
              </a:defRPr>
            </a:pPr>
            <a:r>
              <a:rPr lang="ru-RU" dirty="0"/>
              <a:t>Сутырина Анна Сергеевна, </a:t>
            </a:r>
          </a:p>
          <a:p>
            <a:pPr marL="0" indent="0" algn="just" defTabSz="45720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466">
                <a:latin typeface="+mn-lt"/>
                <a:ea typeface="+mn-ea"/>
                <a:cs typeface="+mn-cs"/>
                <a:sym typeface="Helvetica"/>
              </a:defRPr>
            </a:pPr>
            <a:r>
              <a:rPr lang="ru-RU" sz="1600" dirty="0"/>
              <a:t>Директор ИППР </a:t>
            </a:r>
            <a:r>
              <a:rPr lang="ru-RU" dirty="0"/>
              <a:t>НИУ ВШЭ, </a:t>
            </a:r>
          </a:p>
          <a:p>
            <a:pPr marL="0" indent="0" algn="just" defTabSz="45720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466">
                <a:latin typeface="+mn-lt"/>
                <a:ea typeface="+mn-ea"/>
                <a:cs typeface="+mn-cs"/>
                <a:sym typeface="Helvetica"/>
              </a:defRPr>
            </a:pPr>
            <a:r>
              <a:rPr lang="ru-RU" sz="1600" dirty="0"/>
              <a:t>к.ю.н</a:t>
            </a:r>
            <a:endParaRPr sz="1600" dirty="0"/>
          </a:p>
          <a:p>
            <a:pPr marL="0" indent="0" defTabSz="45720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600">
                <a:latin typeface="+mn-lt"/>
                <a:ea typeface="+mn-ea"/>
                <a:cs typeface="+mn-cs"/>
                <a:sym typeface="Helvetica"/>
              </a:defRPr>
            </a:pPr>
            <a:endParaRPr sz="1600" dirty="0"/>
          </a:p>
        </p:txBody>
      </p: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BDBEAC29-E762-4886-8404-3BB15869F8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6" progId="TCLayout.ActiveDocument.1">
                  <p:embed/>
                </p:oleObj>
              </mc:Choice>
              <mc:Fallback>
                <p:oleObj name="Слайд think-cell" r:id="rId3" imgW="473" imgH="47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BDBEAC29-E762-4886-8404-3BB15869F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A2BCD7-E574-4FD0-AA57-897020D701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7152" y="452806"/>
            <a:ext cx="11073986" cy="369332"/>
          </a:xfrm>
        </p:spPr>
        <p:txBody>
          <a:bodyPr vert="horz"/>
          <a:lstStyle/>
          <a:p>
            <a:r>
              <a:rPr lang="ru-RU" sz="2400" b="1" dirty="0">
                <a:solidFill>
                  <a:srgbClr val="18347C"/>
                </a:solidFill>
                <a:latin typeface="+mn-lt"/>
              </a:rPr>
              <a:t>Глобальные регуляторные тренды:</a:t>
            </a:r>
            <a:endParaRPr lang="en-US" sz="2400" b="1" dirty="0">
              <a:solidFill>
                <a:srgbClr val="18347C"/>
              </a:solidFill>
              <a:latin typeface="+mn-lt"/>
            </a:endParaRPr>
          </a:p>
        </p:txBody>
      </p: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49EA8E58-633D-BB01-9020-4B550092FB5A}"/>
              </a:ext>
            </a:extLst>
          </p:cNvPr>
          <p:cNvGrpSpPr/>
          <p:nvPr/>
        </p:nvGrpSpPr>
        <p:grpSpPr>
          <a:xfrm>
            <a:off x="567151" y="1084500"/>
            <a:ext cx="10509017" cy="590938"/>
            <a:chOff x="664891" y="1683709"/>
            <a:chExt cx="6843234" cy="590938"/>
          </a:xfrm>
        </p:grpSpPr>
        <p:sp>
          <p:nvSpPr>
            <p:cNvPr id="13" name="RBContent37">
              <a:extLst>
                <a:ext uri="{FF2B5EF4-FFF2-40B4-BE49-F238E27FC236}">
                  <a16:creationId xmlns:a16="http://schemas.microsoft.com/office/drawing/2014/main" id="{9DCBEFB3-AF56-D837-FEFA-54F4AEB57CF2}"/>
                </a:ext>
              </a:extLst>
            </p:cNvPr>
            <p:cNvSpPr txBox="1">
              <a:spLocks/>
            </p:cNvSpPr>
            <p:nvPr/>
          </p:nvSpPr>
          <p:spPr>
            <a:xfrm>
              <a:off x="936550" y="1776049"/>
              <a:ext cx="6571575" cy="4985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1800" b="1" dirty="0">
                  <a:effectLst/>
                  <a:latin typeface="+mn-lt"/>
                  <a:ea typeface="Aptos" panose="020B0004020202020204" pitchFamily="34" charset="0"/>
                </a:rPr>
                <a:t>Рост требований к основным субъектам (хостинг-провайдеры, операторы связи, ОРИ, пользователи) </a:t>
              </a:r>
              <a:endParaRPr lang="en-US" sz="1400" dirty="0">
                <a:solidFill>
                  <a:srgbClr val="18347B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RBContent37">
              <a:extLst>
                <a:ext uri="{FF2B5EF4-FFF2-40B4-BE49-F238E27FC236}">
                  <a16:creationId xmlns:a16="http://schemas.microsoft.com/office/drawing/2014/main" id="{24802069-3A8C-F03D-9151-EE693CE8FDF0}"/>
                </a:ext>
              </a:extLst>
            </p:cNvPr>
            <p:cNvSpPr txBox="1">
              <a:spLocks/>
            </p:cNvSpPr>
            <p:nvPr/>
          </p:nvSpPr>
          <p:spPr>
            <a:xfrm>
              <a:off x="664891" y="1683709"/>
              <a:ext cx="464036" cy="4154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3000" b="1" dirty="0">
                  <a:solidFill>
                    <a:srgbClr val="6699FF"/>
                  </a:solidFill>
                  <a:latin typeface="+mn-lt"/>
                  <a:ea typeface="+mn-ea"/>
                  <a:cs typeface="+mn-cs"/>
                  <a:sym typeface="+mn-lt"/>
                </a:rPr>
                <a:t>1</a:t>
              </a:r>
              <a:endParaRPr lang="en-US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CE8A07F6-7DCE-B815-FC4B-8AFCB4A7DCCE}"/>
              </a:ext>
            </a:extLst>
          </p:cNvPr>
          <p:cNvGrpSpPr/>
          <p:nvPr/>
        </p:nvGrpSpPr>
        <p:grpSpPr>
          <a:xfrm>
            <a:off x="567152" y="1738474"/>
            <a:ext cx="8688166" cy="415498"/>
            <a:chOff x="664891" y="1684571"/>
            <a:chExt cx="8688166" cy="415498"/>
          </a:xfrm>
        </p:grpSpPr>
        <p:sp>
          <p:nvSpPr>
            <p:cNvPr id="21" name="RBContent37">
              <a:extLst>
                <a:ext uri="{FF2B5EF4-FFF2-40B4-BE49-F238E27FC236}">
                  <a16:creationId xmlns:a16="http://schemas.microsoft.com/office/drawing/2014/main" id="{2D6DA0AD-1465-C43C-B1B6-B02D9A252B6A}"/>
                </a:ext>
              </a:extLst>
            </p:cNvPr>
            <p:cNvSpPr txBox="1">
              <a:spLocks/>
            </p:cNvSpPr>
            <p:nvPr/>
          </p:nvSpPr>
          <p:spPr>
            <a:xfrm>
              <a:off x="1104817" y="1795370"/>
              <a:ext cx="8248240" cy="2492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1800" b="1" dirty="0">
                  <a:effectLst/>
                  <a:latin typeface="+mn-lt"/>
                  <a:ea typeface="Aptos" panose="020B0004020202020204" pitchFamily="34" charset="0"/>
                </a:rPr>
                <a:t>Регулирование искусственного интеллекта</a:t>
              </a:r>
              <a:endParaRPr lang="en-US" sz="1800" dirty="0">
                <a:solidFill>
                  <a:srgbClr val="18347B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2" name="RBContent37">
              <a:extLst>
                <a:ext uri="{FF2B5EF4-FFF2-40B4-BE49-F238E27FC236}">
                  <a16:creationId xmlns:a16="http://schemas.microsoft.com/office/drawing/2014/main" id="{D3604C4D-B5C9-41DF-BDA3-35618491AA70}"/>
                </a:ext>
              </a:extLst>
            </p:cNvPr>
            <p:cNvSpPr txBox="1">
              <a:spLocks/>
            </p:cNvSpPr>
            <p:nvPr/>
          </p:nvSpPr>
          <p:spPr>
            <a:xfrm>
              <a:off x="664891" y="1684571"/>
              <a:ext cx="417181" cy="4154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3000" b="1" dirty="0">
                  <a:solidFill>
                    <a:srgbClr val="6699FF"/>
                  </a:solidFill>
                  <a:latin typeface="+mn-lt"/>
                  <a:ea typeface="+mn-ea"/>
                  <a:cs typeface="+mn-cs"/>
                  <a:sym typeface="+mn-lt"/>
                </a:rPr>
                <a:t>2</a:t>
              </a:r>
              <a:endParaRPr lang="en-US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F594F464-99ED-A09D-AE2F-EBEF3B3BAB3D}"/>
              </a:ext>
            </a:extLst>
          </p:cNvPr>
          <p:cNvGrpSpPr/>
          <p:nvPr/>
        </p:nvGrpSpPr>
        <p:grpSpPr>
          <a:xfrm>
            <a:off x="567152" y="2387403"/>
            <a:ext cx="7312591" cy="415498"/>
            <a:chOff x="664891" y="1684571"/>
            <a:chExt cx="6749087" cy="415498"/>
          </a:xfrm>
        </p:grpSpPr>
        <p:sp>
          <p:nvSpPr>
            <p:cNvPr id="24" name="RBContent37">
              <a:extLst>
                <a:ext uri="{FF2B5EF4-FFF2-40B4-BE49-F238E27FC236}">
                  <a16:creationId xmlns:a16="http://schemas.microsoft.com/office/drawing/2014/main" id="{AB208113-4679-1C64-C547-B374714EE305}"/>
                </a:ext>
              </a:extLst>
            </p:cNvPr>
            <p:cNvSpPr txBox="1">
              <a:spLocks/>
            </p:cNvSpPr>
            <p:nvPr/>
          </p:nvSpPr>
          <p:spPr>
            <a:xfrm>
              <a:off x="1070917" y="1750619"/>
              <a:ext cx="6343061" cy="2769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ru-RU" sz="1800" b="1" kern="100" dirty="0">
                  <a:effectLst/>
                  <a:latin typeface="+mn-lt"/>
                  <a:ea typeface="Aptos" panose="020B0004020202020204" pitchFamily="34" charset="0"/>
                  <a:cs typeface="Times New Roman" panose="02020603050405020304" pitchFamily="18" charset="0"/>
                </a:rPr>
                <a:t>Борьба с дезинформацией и вредоносным контентом</a:t>
              </a:r>
              <a:r>
                <a:rPr lang="ru-RU" sz="1800" kern="100" dirty="0">
                  <a:effectLst/>
                  <a:latin typeface="+mn-lt"/>
                  <a:ea typeface="Aptos" panose="020B0004020202020204" pitchFamily="34" charset="0"/>
                  <a:cs typeface="Times New Roman" panose="02020603050405020304" pitchFamily="18" charset="0"/>
                </a:rPr>
                <a:t> </a:t>
              </a:r>
              <a:endParaRPr lang="en-US" sz="1800" dirty="0">
                <a:solidFill>
                  <a:srgbClr val="18347B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5" name="RBContent37">
              <a:extLst>
                <a:ext uri="{FF2B5EF4-FFF2-40B4-BE49-F238E27FC236}">
                  <a16:creationId xmlns:a16="http://schemas.microsoft.com/office/drawing/2014/main" id="{BD7063E3-4147-5291-458A-8F0C08D40578}"/>
                </a:ext>
              </a:extLst>
            </p:cNvPr>
            <p:cNvSpPr txBox="1">
              <a:spLocks/>
            </p:cNvSpPr>
            <p:nvPr/>
          </p:nvSpPr>
          <p:spPr>
            <a:xfrm>
              <a:off x="664891" y="1684571"/>
              <a:ext cx="417181" cy="4154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3000" b="1" dirty="0">
                  <a:solidFill>
                    <a:srgbClr val="6699FF"/>
                  </a:solidFill>
                  <a:latin typeface="+mn-lt"/>
                  <a:ea typeface="+mn-ea"/>
                  <a:cs typeface="+mn-cs"/>
                  <a:sym typeface="+mn-lt"/>
                </a:rPr>
                <a:t>3</a:t>
              </a:r>
              <a:endParaRPr lang="en-US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A650460E-37F4-32A4-D3C0-29B826C966A4}"/>
              </a:ext>
            </a:extLst>
          </p:cNvPr>
          <p:cNvGrpSpPr/>
          <p:nvPr/>
        </p:nvGrpSpPr>
        <p:grpSpPr>
          <a:xfrm>
            <a:off x="567151" y="3077161"/>
            <a:ext cx="10882726" cy="609397"/>
            <a:chOff x="664891" y="1684571"/>
            <a:chExt cx="10882726" cy="609397"/>
          </a:xfrm>
        </p:grpSpPr>
        <p:sp>
          <p:nvSpPr>
            <p:cNvPr id="27" name="RBContent37">
              <a:extLst>
                <a:ext uri="{FF2B5EF4-FFF2-40B4-BE49-F238E27FC236}">
                  <a16:creationId xmlns:a16="http://schemas.microsoft.com/office/drawing/2014/main" id="{6F3683D6-318C-B280-EA77-B21FBB2290FC}"/>
                </a:ext>
              </a:extLst>
            </p:cNvPr>
            <p:cNvSpPr txBox="1">
              <a:spLocks/>
            </p:cNvSpPr>
            <p:nvPr/>
          </p:nvSpPr>
          <p:spPr>
            <a:xfrm>
              <a:off x="1082072" y="1795370"/>
              <a:ext cx="10465545" cy="4985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1800" b="1" dirty="0">
                  <a:effectLst/>
                  <a:latin typeface="+mn-lt"/>
                  <a:ea typeface="Aptos" panose="020B0004020202020204" pitchFamily="34" charset="0"/>
                </a:rPr>
                <a:t>Кибербезопасность, защита данных и устойчивость критической информационной инфраструктуры (КИИ)</a:t>
              </a:r>
              <a:endParaRPr lang="en-US" sz="1800" b="1" dirty="0">
                <a:solidFill>
                  <a:srgbClr val="18347B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8" name="RBContent37">
              <a:extLst>
                <a:ext uri="{FF2B5EF4-FFF2-40B4-BE49-F238E27FC236}">
                  <a16:creationId xmlns:a16="http://schemas.microsoft.com/office/drawing/2014/main" id="{11DF2C0D-1F71-91EC-4FD0-180F2E348337}"/>
                </a:ext>
              </a:extLst>
            </p:cNvPr>
            <p:cNvSpPr txBox="1">
              <a:spLocks/>
            </p:cNvSpPr>
            <p:nvPr/>
          </p:nvSpPr>
          <p:spPr>
            <a:xfrm>
              <a:off x="664891" y="1684571"/>
              <a:ext cx="417181" cy="4154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3000" b="1" dirty="0">
                  <a:solidFill>
                    <a:srgbClr val="6699FF"/>
                  </a:solidFill>
                  <a:latin typeface="+mn-lt"/>
                  <a:ea typeface="+mn-ea"/>
                  <a:cs typeface="+mn-cs"/>
                  <a:sym typeface="+mn-lt"/>
                </a:rPr>
                <a:t>4</a:t>
              </a:r>
              <a:endParaRPr lang="en-US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C9DB72F2-C692-3D08-5ADE-4F5ACE2CAEBF}"/>
              </a:ext>
            </a:extLst>
          </p:cNvPr>
          <p:cNvGrpSpPr/>
          <p:nvPr/>
        </p:nvGrpSpPr>
        <p:grpSpPr>
          <a:xfrm>
            <a:off x="569334" y="3841736"/>
            <a:ext cx="10190963" cy="415498"/>
            <a:chOff x="664891" y="1684571"/>
            <a:chExt cx="10190963" cy="415498"/>
          </a:xfrm>
        </p:grpSpPr>
        <p:sp>
          <p:nvSpPr>
            <p:cNvPr id="30" name="RBContent37">
              <a:extLst>
                <a:ext uri="{FF2B5EF4-FFF2-40B4-BE49-F238E27FC236}">
                  <a16:creationId xmlns:a16="http://schemas.microsoft.com/office/drawing/2014/main" id="{DEA79242-C1CB-0B86-C4AB-2ACB9FE77C45}"/>
                </a:ext>
              </a:extLst>
            </p:cNvPr>
            <p:cNvSpPr txBox="1">
              <a:spLocks/>
            </p:cNvSpPr>
            <p:nvPr/>
          </p:nvSpPr>
          <p:spPr>
            <a:xfrm>
              <a:off x="1082072" y="1760754"/>
              <a:ext cx="9773782" cy="2492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1800" b="1" dirty="0">
                  <a:effectLst/>
                  <a:latin typeface="+mn-lt"/>
                  <a:ea typeface="Aptos" panose="020B0004020202020204" pitchFamily="34" charset="0"/>
                </a:rPr>
                <a:t>Цифровой суверенитет и локализация данных</a:t>
              </a:r>
              <a:endParaRPr lang="en-US" sz="1800" dirty="0">
                <a:solidFill>
                  <a:srgbClr val="18347B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1" name="RBContent37">
              <a:extLst>
                <a:ext uri="{FF2B5EF4-FFF2-40B4-BE49-F238E27FC236}">
                  <a16:creationId xmlns:a16="http://schemas.microsoft.com/office/drawing/2014/main" id="{A1D00C4F-51F1-DA8D-BB9A-A76042AD09C0}"/>
                </a:ext>
              </a:extLst>
            </p:cNvPr>
            <p:cNvSpPr txBox="1">
              <a:spLocks/>
            </p:cNvSpPr>
            <p:nvPr/>
          </p:nvSpPr>
          <p:spPr>
            <a:xfrm>
              <a:off x="664891" y="1684571"/>
              <a:ext cx="681203" cy="4154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3000" b="1" dirty="0">
                  <a:solidFill>
                    <a:srgbClr val="6699FF"/>
                  </a:solidFill>
                  <a:latin typeface="+mn-lt"/>
                  <a:ea typeface="+mn-ea"/>
                  <a:cs typeface="+mn-cs"/>
                  <a:sym typeface="+mn-lt"/>
                </a:rPr>
                <a:t>5</a:t>
              </a:r>
              <a:endParaRPr lang="en-US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D5FC2EC4-B6AF-DCC9-C5E9-352FD5D5DC32}"/>
              </a:ext>
            </a:extLst>
          </p:cNvPr>
          <p:cNvGrpSpPr/>
          <p:nvPr/>
        </p:nvGrpSpPr>
        <p:grpSpPr>
          <a:xfrm>
            <a:off x="567151" y="4488595"/>
            <a:ext cx="5097665" cy="415498"/>
            <a:chOff x="664891" y="1684571"/>
            <a:chExt cx="5097665" cy="415498"/>
          </a:xfrm>
        </p:grpSpPr>
        <p:sp>
          <p:nvSpPr>
            <p:cNvPr id="34" name="RBContent37">
              <a:extLst>
                <a:ext uri="{FF2B5EF4-FFF2-40B4-BE49-F238E27FC236}">
                  <a16:creationId xmlns:a16="http://schemas.microsoft.com/office/drawing/2014/main" id="{E0AAAB23-FE16-2F1D-CA1B-D6B33849D4FA}"/>
                </a:ext>
              </a:extLst>
            </p:cNvPr>
            <p:cNvSpPr txBox="1">
              <a:spLocks/>
            </p:cNvSpPr>
            <p:nvPr/>
          </p:nvSpPr>
          <p:spPr>
            <a:xfrm>
              <a:off x="1082071" y="1746927"/>
              <a:ext cx="4680485" cy="2492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1800" b="1" dirty="0">
                  <a:latin typeface="+mn-lt"/>
                  <a:ea typeface="Aptos" panose="020B0004020202020204" pitchFamily="34" charset="0"/>
                </a:rPr>
                <a:t>«Монетизация» Интернета государством</a:t>
              </a:r>
              <a:endParaRPr lang="en-US" sz="1800" dirty="0">
                <a:solidFill>
                  <a:srgbClr val="18347B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5" name="RBContent37">
              <a:extLst>
                <a:ext uri="{FF2B5EF4-FFF2-40B4-BE49-F238E27FC236}">
                  <a16:creationId xmlns:a16="http://schemas.microsoft.com/office/drawing/2014/main" id="{DBA2DB5E-60A6-3649-D059-12E96819D3B7}"/>
                </a:ext>
              </a:extLst>
            </p:cNvPr>
            <p:cNvSpPr txBox="1">
              <a:spLocks/>
            </p:cNvSpPr>
            <p:nvPr/>
          </p:nvSpPr>
          <p:spPr>
            <a:xfrm>
              <a:off x="664891" y="1684571"/>
              <a:ext cx="601690" cy="4154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3000" b="1" dirty="0">
                  <a:solidFill>
                    <a:srgbClr val="6699FF"/>
                  </a:solidFill>
                  <a:latin typeface="+mn-lt"/>
                  <a:ea typeface="+mn-ea"/>
                  <a:cs typeface="+mn-cs"/>
                  <a:sym typeface="+mn-lt"/>
                </a:rPr>
                <a:t>6</a:t>
              </a:r>
              <a:endParaRPr lang="en-US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FDE3EA6F-E2C0-883F-3019-4E61D4FE0EC4}"/>
              </a:ext>
            </a:extLst>
          </p:cNvPr>
          <p:cNvGrpSpPr/>
          <p:nvPr/>
        </p:nvGrpSpPr>
        <p:grpSpPr>
          <a:xfrm>
            <a:off x="567151" y="5102169"/>
            <a:ext cx="10429924" cy="531883"/>
            <a:chOff x="664891" y="1684571"/>
            <a:chExt cx="6635058" cy="531883"/>
          </a:xfrm>
        </p:grpSpPr>
        <p:sp>
          <p:nvSpPr>
            <p:cNvPr id="37" name="RBContent37">
              <a:extLst>
                <a:ext uri="{FF2B5EF4-FFF2-40B4-BE49-F238E27FC236}">
                  <a16:creationId xmlns:a16="http://schemas.microsoft.com/office/drawing/2014/main" id="{A43B2423-4BA9-E080-8DCE-68356C42355C}"/>
                </a:ext>
              </a:extLst>
            </p:cNvPr>
            <p:cNvSpPr txBox="1">
              <a:spLocks/>
            </p:cNvSpPr>
            <p:nvPr/>
          </p:nvSpPr>
          <p:spPr>
            <a:xfrm>
              <a:off x="980598" y="1717856"/>
              <a:ext cx="6319351" cy="4985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1800" b="1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rPr>
                <a:t>Обеспечение интероперабельности и борьба с доминированием крупных платформ</a:t>
              </a:r>
              <a:endParaRPr lang="en-US" sz="180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8" name="RBContent37">
              <a:extLst>
                <a:ext uri="{FF2B5EF4-FFF2-40B4-BE49-F238E27FC236}">
                  <a16:creationId xmlns:a16="http://schemas.microsoft.com/office/drawing/2014/main" id="{C9F0486C-6A73-5C3F-7435-3E49282EEE2F}"/>
                </a:ext>
              </a:extLst>
            </p:cNvPr>
            <p:cNvSpPr txBox="1">
              <a:spLocks/>
            </p:cNvSpPr>
            <p:nvPr/>
          </p:nvSpPr>
          <p:spPr>
            <a:xfrm>
              <a:off x="664891" y="1684571"/>
              <a:ext cx="417181" cy="4154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3000" b="1" dirty="0">
                  <a:solidFill>
                    <a:srgbClr val="6699FF"/>
                  </a:solidFill>
                  <a:latin typeface="+mn-lt"/>
                  <a:ea typeface="+mn-ea"/>
                  <a:cs typeface="+mn-cs"/>
                  <a:sym typeface="+mn-lt"/>
                </a:rPr>
                <a:t>7</a:t>
              </a:r>
              <a:endParaRPr lang="en-US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1855266E-50D1-E3BC-8130-2F7F31093905}"/>
              </a:ext>
            </a:extLst>
          </p:cNvPr>
          <p:cNvSpPr/>
          <p:nvPr/>
        </p:nvSpPr>
        <p:spPr>
          <a:xfrm>
            <a:off x="11785808" y="6360554"/>
            <a:ext cx="406192" cy="382152"/>
          </a:xfrm>
          <a:prstGeom prst="rect">
            <a:avLst/>
          </a:prstGeom>
          <a:solidFill>
            <a:srgbClr val="183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2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4617985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BDBEAC29-E762-4886-8404-3BB15869F8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6" progId="TCLayout.ActiveDocument.1">
                  <p:embed/>
                </p:oleObj>
              </mc:Choice>
              <mc:Fallback>
                <p:oleObj name="Слайд think-cell" r:id="rId3" imgW="473" imgH="47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BDBEAC29-E762-4886-8404-3BB15869F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49E5AEC2-FE78-FE1F-FFE9-B0B8846E8EF4}"/>
              </a:ext>
            </a:extLst>
          </p:cNvPr>
          <p:cNvSpPr/>
          <p:nvPr/>
        </p:nvSpPr>
        <p:spPr>
          <a:xfrm>
            <a:off x="7134848" y="2492536"/>
            <a:ext cx="419414" cy="21653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A2BCD7-E574-4FD0-AA57-897020D701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77317" y="80816"/>
            <a:ext cx="10328098" cy="677108"/>
          </a:xfrm>
        </p:spPr>
        <p:txBody>
          <a:bodyPr vert="horz"/>
          <a:lstStyle/>
          <a:p>
            <a:r>
              <a:rPr lang="ru-RU" sz="2200" b="1" dirty="0">
                <a:solidFill>
                  <a:srgbClr val="18347C"/>
                </a:solidFill>
                <a:latin typeface="+mn-lt"/>
              </a:rPr>
              <a:t>Рост требований к основным субъектам (хостинг-провайдеры, операторы связи, ОРИ, пользователи)</a:t>
            </a:r>
            <a:endParaRPr lang="en-US" sz="2200" dirty="0">
              <a:solidFill>
                <a:srgbClr val="18347C"/>
              </a:solidFill>
              <a:latin typeface="+mn-lt"/>
            </a:endParaRPr>
          </a:p>
        </p:txBody>
      </p:sp>
      <p:sp>
        <p:nvSpPr>
          <p:cNvPr id="164" name="RBContent37">
            <a:extLst>
              <a:ext uri="{FF2B5EF4-FFF2-40B4-BE49-F238E27FC236}">
                <a16:creationId xmlns:a16="http://schemas.microsoft.com/office/drawing/2014/main" id="{8B9020B2-5CE5-4C3A-8121-7BF37655F854}"/>
              </a:ext>
            </a:extLst>
          </p:cNvPr>
          <p:cNvSpPr txBox="1">
            <a:spLocks/>
          </p:cNvSpPr>
          <p:nvPr/>
        </p:nvSpPr>
        <p:spPr>
          <a:xfrm>
            <a:off x="703617" y="1339963"/>
            <a:ext cx="5154815" cy="60529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Глобальные тренды</a:t>
            </a:r>
          </a:p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endParaRPr lang="en-US" sz="2000" b="1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9AEA50E-E4C1-E453-5C1D-C1A4C0F005B3}"/>
              </a:ext>
            </a:extLst>
          </p:cNvPr>
          <p:cNvSpPr txBox="1"/>
          <p:nvPr/>
        </p:nvSpPr>
        <p:spPr>
          <a:xfrm>
            <a:off x="1254015" y="2992355"/>
            <a:ext cx="450782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dirty="0">
                <a:latin typeface="+mn-lt"/>
                <a:ea typeface="Aptos" panose="020B0004020202020204" pitchFamily="34" charset="0"/>
              </a:rPr>
              <a:t>Новые обязанности всех посредников в Интернете, включая хостинг-провадйеров с 2024 года на основании Цифрового закона об услугах (Digital Services Act - DSA)</a:t>
            </a:r>
            <a:endParaRPr lang="en-US" sz="1400" dirty="0">
              <a:latin typeface="+mn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DC94112-38BA-E7BB-1B54-E7DF6086DA05}"/>
              </a:ext>
            </a:extLst>
          </p:cNvPr>
          <p:cNvSpPr txBox="1"/>
          <p:nvPr/>
        </p:nvSpPr>
        <p:spPr>
          <a:xfrm>
            <a:off x="7134848" y="3169644"/>
            <a:ext cx="437056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buFont typeface="Wingdings" panose="05000000000000000000" pitchFamily="2" charset="2"/>
              <a:buChar char="q"/>
            </a:pPr>
            <a:r>
              <a:rPr lang="ru-RU" sz="1400" dirty="0">
                <a:latin typeface="+mn-lt"/>
              </a:rPr>
              <a:t> Деанонимизация и идентификация пользователей: закрепление нового принципа регистрации пользователей</a:t>
            </a:r>
            <a:endParaRPr lang="en-US" sz="1400" dirty="0">
              <a:latin typeface="+mn-lt"/>
            </a:endParaRP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E312B625-8299-EBF1-38B9-D1B9CF2A9104}"/>
              </a:ext>
            </a:extLst>
          </p:cNvPr>
          <p:cNvSpPr/>
          <p:nvPr/>
        </p:nvSpPr>
        <p:spPr>
          <a:xfrm>
            <a:off x="0" y="-1463"/>
            <a:ext cx="800859" cy="686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b="1" dirty="0"/>
              <a:t>1</a:t>
            </a:r>
            <a:endParaRPr lang="en-US" sz="36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AF17991-B4E7-882E-8A04-58BC9F544E64}"/>
              </a:ext>
            </a:extLst>
          </p:cNvPr>
          <p:cNvSpPr/>
          <p:nvPr/>
        </p:nvSpPr>
        <p:spPr>
          <a:xfrm>
            <a:off x="11785808" y="6277033"/>
            <a:ext cx="406192" cy="382152"/>
          </a:xfrm>
          <a:prstGeom prst="rect">
            <a:avLst/>
          </a:prstGeom>
          <a:solidFill>
            <a:srgbClr val="183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3</a:t>
            </a:r>
            <a:endParaRPr lang="en-US" sz="1400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ABD820-E148-B07A-2E10-7BC4557F6D7A}"/>
              </a:ext>
            </a:extLst>
          </p:cNvPr>
          <p:cNvSpPr txBox="1"/>
          <p:nvPr/>
        </p:nvSpPr>
        <p:spPr>
          <a:xfrm>
            <a:off x="7134848" y="4034363"/>
            <a:ext cx="443417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buFont typeface="Wingdings" panose="05000000000000000000" pitchFamily="2" charset="2"/>
              <a:buChar char="q"/>
            </a:pPr>
            <a:r>
              <a:rPr lang="ru-RU" sz="1200" dirty="0">
                <a:latin typeface="+mn-lt"/>
              </a:rPr>
              <a:t> </a:t>
            </a:r>
            <a:r>
              <a:rPr lang="ru-RU" sz="1400" dirty="0">
                <a:latin typeface="+mn-lt"/>
              </a:rPr>
              <a:t>Создание реестра хостинг-провайдеров и наделение хостинг-провайдеров новыми обязанностями в части защиты информации</a:t>
            </a:r>
            <a:endParaRPr lang="en-US" sz="1400" dirty="0">
              <a:latin typeface="+mn-lt"/>
            </a:endParaRPr>
          </a:p>
        </p:txBody>
      </p:sp>
      <p:sp>
        <p:nvSpPr>
          <p:cNvPr id="5" name="RBContent37">
            <a:extLst>
              <a:ext uri="{FF2B5EF4-FFF2-40B4-BE49-F238E27FC236}">
                <a16:creationId xmlns:a16="http://schemas.microsoft.com/office/drawing/2014/main" id="{4576B4B9-60B2-7E82-B531-15603639DC7E}"/>
              </a:ext>
            </a:extLst>
          </p:cNvPr>
          <p:cNvSpPr txBox="1">
            <a:spLocks/>
          </p:cNvSpPr>
          <p:nvPr/>
        </p:nvSpPr>
        <p:spPr>
          <a:xfrm>
            <a:off x="6145638" y="1306115"/>
            <a:ext cx="5154815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Тренды в России</a:t>
            </a:r>
            <a:endParaRPr lang="en-US" sz="2000" b="1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96976E-3684-EAD1-CCA0-065B083256E2}"/>
              </a:ext>
            </a:extLst>
          </p:cNvPr>
          <p:cNvSpPr txBox="1"/>
          <p:nvPr/>
        </p:nvSpPr>
        <p:spPr>
          <a:xfrm>
            <a:off x="1198276" y="4123119"/>
            <a:ext cx="476208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dirty="0">
                <a:latin typeface="+mn-lt"/>
                <a:ea typeface="Aptos" panose="020B0004020202020204" pitchFamily="34" charset="0"/>
              </a:rPr>
              <a:t>Новые обязанности всех подпадающих под действие цифрового закона о рынках (Digital Markets Act - DMA) субъектов (это, прежде всего,  крупнейших игроки (gatekeeper) с 2024 года</a:t>
            </a:r>
            <a:endParaRPr lang="en-US" sz="1400" dirty="0">
              <a:latin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D16E57-537A-145F-ECFA-4BE5C0D79255}"/>
              </a:ext>
            </a:extLst>
          </p:cNvPr>
          <p:cNvSpPr txBox="1"/>
          <p:nvPr/>
        </p:nvSpPr>
        <p:spPr>
          <a:xfrm>
            <a:off x="703617" y="1866077"/>
            <a:ext cx="503242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Рост количества обязанностей, выполнение которых является условием ведения деятельности </a:t>
            </a:r>
            <a:r>
              <a:rPr lang="ru-RU" sz="1600" b="1" dirty="0">
                <a:solidFill>
                  <a:srgbClr val="18347B"/>
                </a:solidFill>
                <a:ea typeface="Aptos" panose="020B0004020202020204" pitchFamily="34" charset="0"/>
              </a:rPr>
              <a:t>посредников в сети Интернет и технологических компаний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AA6E2E-F262-97B1-24C2-2903A028B819}"/>
              </a:ext>
            </a:extLst>
          </p:cNvPr>
          <p:cNvSpPr txBox="1"/>
          <p:nvPr/>
        </p:nvSpPr>
        <p:spPr>
          <a:xfrm>
            <a:off x="6202537" y="1823369"/>
            <a:ext cx="5653098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Рост количества обязанностей, выполнение которых является условием ведения деятельности </a:t>
            </a:r>
            <a:r>
              <a:rPr lang="ru-RU" sz="1600" b="1" dirty="0">
                <a:solidFill>
                  <a:srgbClr val="18347B"/>
                </a:solidFill>
                <a:ea typeface="Aptos" panose="020B0004020202020204" pitchFamily="34" charset="0"/>
              </a:rPr>
              <a:t>в сети Интернет или иных видов деятельности, а также условием для получения услуг в сети Интернет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091482-AAE4-A049-78BB-812258AD8335}"/>
              </a:ext>
            </a:extLst>
          </p:cNvPr>
          <p:cNvSpPr txBox="1"/>
          <p:nvPr/>
        </p:nvSpPr>
        <p:spPr>
          <a:xfrm>
            <a:off x="7134848" y="4969504"/>
            <a:ext cx="443417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buFont typeface="Wingdings" panose="05000000000000000000" pitchFamily="2" charset="2"/>
              <a:buChar char="q"/>
            </a:pPr>
            <a:r>
              <a:rPr lang="ru-RU" sz="1200" dirty="0">
                <a:latin typeface="+mn-lt"/>
              </a:rPr>
              <a:t> </a:t>
            </a:r>
            <a:r>
              <a:rPr lang="ru-RU" sz="1400" dirty="0">
                <a:latin typeface="+mn-lt"/>
              </a:rPr>
              <a:t>Регулирование статуса ЦОД </a:t>
            </a:r>
            <a:endParaRPr lang="en-US" sz="1400" dirty="0">
              <a:latin typeface="+mn-lt"/>
            </a:endParaRPr>
          </a:p>
        </p:txBody>
      </p:sp>
      <p:pic>
        <p:nvPicPr>
          <p:cNvPr id="12" name="Рисунок 5">
            <a:extLst>
              <a:ext uri="{FF2B5EF4-FFF2-40B4-BE49-F238E27FC236}">
                <a16:creationId xmlns:a16="http://schemas.microsoft.com/office/drawing/2014/main" id="{CEC474D9-D16D-9A6F-2110-2393B9AB2EF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625" y="1156727"/>
            <a:ext cx="734085" cy="49036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Рисунок 79" descr="Земной шар: Северная и Южная Америка со сплошной заливкой">
            <a:extLst>
              <a:ext uri="{FF2B5EF4-FFF2-40B4-BE49-F238E27FC236}">
                <a16:creationId xmlns:a16="http://schemas.microsoft.com/office/drawing/2014/main" id="{1F6F805A-1A25-D372-DFB1-C62EAF4A708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3585" y="99552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5330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570A97-01B1-A4D2-535E-9163FC8993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4D23432-1320-2300-0905-6907D5A5BD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6" progId="TCLayout.ActiveDocument.1">
                  <p:embed/>
                </p:oleObj>
              </mc:Choice>
              <mc:Fallback>
                <p:oleObj name="Слайд think-cell" r:id="rId3" imgW="473" imgH="47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BDBEAC29-E762-4886-8404-3BB15869F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16386F94-0285-5BB2-1620-4DE4BF28E908}"/>
              </a:ext>
            </a:extLst>
          </p:cNvPr>
          <p:cNvSpPr/>
          <p:nvPr/>
        </p:nvSpPr>
        <p:spPr>
          <a:xfrm>
            <a:off x="7095514" y="2850062"/>
            <a:ext cx="419414" cy="21653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126D54-6638-68A5-3FBC-B680B97EF5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6979" y="119152"/>
            <a:ext cx="10328098" cy="338554"/>
          </a:xfrm>
        </p:spPr>
        <p:txBody>
          <a:bodyPr vert="horz"/>
          <a:lstStyle/>
          <a:p>
            <a:r>
              <a:rPr lang="ru-RU" sz="2200" b="1" dirty="0">
                <a:solidFill>
                  <a:srgbClr val="18347C"/>
                </a:solidFill>
                <a:latin typeface="+mn-lt"/>
              </a:rPr>
              <a:t>Регулирование искусственного интеллекта</a:t>
            </a:r>
          </a:p>
        </p:txBody>
      </p:sp>
      <p:sp>
        <p:nvSpPr>
          <p:cNvPr id="164" name="RBContent37">
            <a:extLst>
              <a:ext uri="{FF2B5EF4-FFF2-40B4-BE49-F238E27FC236}">
                <a16:creationId xmlns:a16="http://schemas.microsoft.com/office/drawing/2014/main" id="{1C04947F-ACFE-3A1C-886C-6A77CF7BD7B0}"/>
              </a:ext>
            </a:extLst>
          </p:cNvPr>
          <p:cNvSpPr txBox="1">
            <a:spLocks/>
          </p:cNvSpPr>
          <p:nvPr/>
        </p:nvSpPr>
        <p:spPr>
          <a:xfrm>
            <a:off x="701380" y="1143459"/>
            <a:ext cx="5154815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Глобальные тренды</a:t>
            </a:r>
            <a:endParaRPr lang="en-US" sz="2000" b="1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739E43C-DE60-0883-2309-76EAC8BCBB26}"/>
              </a:ext>
            </a:extLst>
          </p:cNvPr>
          <p:cNvSpPr txBox="1"/>
          <p:nvPr/>
        </p:nvSpPr>
        <p:spPr>
          <a:xfrm>
            <a:off x="7095514" y="2951946"/>
            <a:ext cx="437056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buFont typeface="Wingdings" panose="05000000000000000000" pitchFamily="2" charset="2"/>
              <a:buChar char="q"/>
            </a:pPr>
            <a:r>
              <a:rPr lang="ru-RU" sz="1400" dirty="0">
                <a:latin typeface="+mn-lt"/>
              </a:rPr>
              <a:t> Предложения по законопроекту в случае его принятия:</a:t>
            </a:r>
            <a:endParaRPr lang="en-US" sz="1400" dirty="0">
              <a:latin typeface="+mn-lt"/>
            </a:endParaRP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35DBA6AF-2016-E972-E714-66A4F47063DD}"/>
              </a:ext>
            </a:extLst>
          </p:cNvPr>
          <p:cNvSpPr/>
          <p:nvPr/>
        </p:nvSpPr>
        <p:spPr>
          <a:xfrm>
            <a:off x="0" y="0"/>
            <a:ext cx="800859" cy="686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b="1" dirty="0"/>
              <a:t>2</a:t>
            </a:r>
            <a:endParaRPr lang="en-US" sz="36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7572ADB-F4DA-4C34-9011-8AB29B99F62C}"/>
              </a:ext>
            </a:extLst>
          </p:cNvPr>
          <p:cNvSpPr/>
          <p:nvPr/>
        </p:nvSpPr>
        <p:spPr>
          <a:xfrm>
            <a:off x="11785808" y="6277033"/>
            <a:ext cx="406192" cy="382152"/>
          </a:xfrm>
          <a:prstGeom prst="rect">
            <a:avLst/>
          </a:prstGeom>
          <a:solidFill>
            <a:srgbClr val="183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4</a:t>
            </a:r>
            <a:endParaRPr lang="en-US" sz="1400" b="1" dirty="0"/>
          </a:p>
        </p:txBody>
      </p:sp>
      <p:sp>
        <p:nvSpPr>
          <p:cNvPr id="5" name="RBContent37">
            <a:extLst>
              <a:ext uri="{FF2B5EF4-FFF2-40B4-BE49-F238E27FC236}">
                <a16:creationId xmlns:a16="http://schemas.microsoft.com/office/drawing/2014/main" id="{BFC63ADB-A5AF-FF22-C5C3-006A982EFCFA}"/>
              </a:ext>
            </a:extLst>
          </p:cNvPr>
          <p:cNvSpPr txBox="1">
            <a:spLocks/>
          </p:cNvSpPr>
          <p:nvPr/>
        </p:nvSpPr>
        <p:spPr>
          <a:xfrm>
            <a:off x="5999259" y="1061868"/>
            <a:ext cx="5154815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Тренды в России</a:t>
            </a:r>
            <a:endParaRPr lang="en-US" sz="2000" b="1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4BBED0-C094-E4A7-8873-3228530FF6A3}"/>
              </a:ext>
            </a:extLst>
          </p:cNvPr>
          <p:cNvSpPr txBox="1"/>
          <p:nvPr/>
        </p:nvSpPr>
        <p:spPr>
          <a:xfrm>
            <a:off x="975574" y="2690336"/>
            <a:ext cx="484735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latin typeface="+mn-lt"/>
                <a:ea typeface="Aptos" panose="020B0004020202020204" pitchFamily="34" charset="0"/>
              </a:rPr>
              <a:t>ЕС:</a:t>
            </a:r>
            <a:r>
              <a:rPr lang="ru-RU" sz="1400" dirty="0">
                <a:latin typeface="+mn-lt"/>
                <a:ea typeface="Aptos" panose="020B0004020202020204" pitchFamily="34" charset="0"/>
              </a:rPr>
              <a:t> Регламент об ИИ,  основанный на оценке рисков: </a:t>
            </a:r>
            <a:endParaRPr lang="en-US" sz="1400" dirty="0">
              <a:latin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FBF5D8F-081A-7FE3-FE2C-4E26F777437C}"/>
              </a:ext>
            </a:extLst>
          </p:cNvPr>
          <p:cNvSpPr txBox="1"/>
          <p:nvPr/>
        </p:nvSpPr>
        <p:spPr>
          <a:xfrm>
            <a:off x="490611" y="1613118"/>
            <a:ext cx="503242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Создание рамок, которые бы стимулировали инновации в сфере ИИ, но минимизировали риски (дискриминация, безопасность, приватность)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769D088-7099-D689-FCCB-0003D96BD08E}"/>
              </a:ext>
            </a:extLst>
          </p:cNvPr>
          <p:cNvSpPr txBox="1"/>
          <p:nvPr/>
        </p:nvSpPr>
        <p:spPr>
          <a:xfrm>
            <a:off x="6369075" y="1526623"/>
            <a:ext cx="5653098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Споры о том, нужен основной закон в области ИИ либо же требуются исключительно точечные изменения в отдельные законы, чтобы снять существующие ограничения и заложить стимулы для развития технологий ИИ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5A4C08B-1B70-65E1-5461-FFFAA84D2F26}"/>
              </a:ext>
            </a:extLst>
          </p:cNvPr>
          <p:cNvSpPr/>
          <p:nvPr/>
        </p:nvSpPr>
        <p:spPr>
          <a:xfrm>
            <a:off x="1471474" y="3167389"/>
            <a:ext cx="4218020" cy="2361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правила ввода в эксплуатацию и использования систем ИИ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запреты на определенные методы ИИ, например, скоринговые и манипулятивные методы;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требования к системам ИИ с  высоким уровнем риска и обязательства операторов таких систем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правила прозрачности для ряда систем ИИ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правила размещения на рынке моделей ИИ общего назначения;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правила мониторинга рынка, управления надзором за рынком и правоприменения;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меры по поддержке инноваций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66AF9A2-2526-C15E-1245-1DC212BDA432}"/>
              </a:ext>
            </a:extLst>
          </p:cNvPr>
          <p:cNvSpPr txBox="1"/>
          <p:nvPr/>
        </p:nvSpPr>
        <p:spPr>
          <a:xfrm>
            <a:off x="967194" y="5554726"/>
            <a:ext cx="484735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latin typeface="+mn-lt"/>
                <a:ea typeface="Aptos" panose="020B0004020202020204" pitchFamily="34" charset="0"/>
              </a:rPr>
              <a:t>США: </a:t>
            </a:r>
            <a:r>
              <a:rPr lang="ru-RU" sz="1400" dirty="0">
                <a:latin typeface="+mn-lt"/>
                <a:ea typeface="Aptos" panose="020B0004020202020204" pitchFamily="34" charset="0"/>
              </a:rPr>
              <a:t>специального законодательства нет</a:t>
            </a:r>
            <a:endParaRPr lang="en-US" sz="1400" dirty="0">
              <a:latin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5B9E4B9-6508-B2E3-19C4-C2529C3D63EE}"/>
              </a:ext>
            </a:extLst>
          </p:cNvPr>
          <p:cNvSpPr txBox="1"/>
          <p:nvPr/>
        </p:nvSpPr>
        <p:spPr>
          <a:xfrm>
            <a:off x="967194" y="5944889"/>
            <a:ext cx="484735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latin typeface="+mn-lt"/>
                <a:ea typeface="Aptos" panose="020B0004020202020204" pitchFamily="34" charset="0"/>
              </a:rPr>
              <a:t>Китай</a:t>
            </a:r>
            <a:r>
              <a:rPr lang="ru-RU" sz="1400" dirty="0">
                <a:latin typeface="+mn-lt"/>
                <a:ea typeface="Aptos" panose="020B0004020202020204" pitchFamily="34" charset="0"/>
              </a:rPr>
              <a:t>: правила для рекомендательных алгоритмов и генеративного ИИ, требующие соблюдения "социалистических основных ценностей"</a:t>
            </a:r>
            <a:endParaRPr lang="en-US" sz="1400" dirty="0">
              <a:latin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4592A79-25E5-C72E-00A3-81F0321EB119}"/>
              </a:ext>
            </a:extLst>
          </p:cNvPr>
          <p:cNvSpPr/>
          <p:nvPr/>
        </p:nvSpPr>
        <p:spPr>
          <a:xfrm>
            <a:off x="7572948" y="3544482"/>
            <a:ext cx="4218020" cy="2361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определение основных понятий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роли и статус разработчиков, операторов и пользователей систем ИИ,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вопросы защиты интеллектуальных прав,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разграничение между результатами, созданными с помощью генеративного ИИ, и результатами, созданными с существенным личным творческим вкладом человека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распределение ответственности между разработчиками и операторами систем ИИ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обязательная маркировка систем ИИ и результатов их использования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17" name="Рисунок 5">
            <a:extLst>
              <a:ext uri="{FF2B5EF4-FFF2-40B4-BE49-F238E27FC236}">
                <a16:creationId xmlns:a16="http://schemas.microsoft.com/office/drawing/2014/main" id="{7A7C61A9-82F3-ECD2-AA65-1F54F21D418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0028" y="946121"/>
            <a:ext cx="734085" cy="49036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Рисунок 79" descr="Земной шар: Северная и Южная Америка со сплошной заливкой">
            <a:extLst>
              <a:ext uri="{FF2B5EF4-FFF2-40B4-BE49-F238E27FC236}">
                <a16:creationId xmlns:a16="http://schemas.microsoft.com/office/drawing/2014/main" id="{54086FE9-51FD-8A99-0EDB-FB9FEFE2E32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6979" y="779530"/>
            <a:ext cx="914400" cy="9144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DC77279-7938-2354-EDE2-74B96621533F}"/>
              </a:ext>
            </a:extLst>
          </p:cNvPr>
          <p:cNvSpPr txBox="1"/>
          <p:nvPr/>
        </p:nvSpPr>
        <p:spPr>
          <a:xfrm>
            <a:off x="7301057" y="5796132"/>
            <a:ext cx="445574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buFont typeface="Wingdings" panose="05000000000000000000" pitchFamily="2" charset="2"/>
              <a:buChar char="q"/>
            </a:pPr>
            <a:r>
              <a:rPr lang="ru-RU" sz="1400" dirty="0">
                <a:latin typeface="+mn-lt"/>
              </a:rPr>
              <a:t> Сохраняется использование ИИ в экспериментальном режиме на основе ФЗ об экспериментальных  правовых режимам в сфере цифровых инноваций</a:t>
            </a:r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209103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4518C4-2481-CD21-1F26-484800EC12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222DB82-22C2-5A8B-5F03-15FC9D7F4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6" progId="TCLayout.ActiveDocument.1">
                  <p:embed/>
                </p:oleObj>
              </mc:Choice>
              <mc:Fallback>
                <p:oleObj name="Слайд think-cell" r:id="rId3" imgW="473" imgH="47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4D23432-1320-2300-0905-6907D5A5B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65331776-5BCC-7879-0893-FEEDF5604EF1}"/>
              </a:ext>
            </a:extLst>
          </p:cNvPr>
          <p:cNvSpPr/>
          <p:nvPr/>
        </p:nvSpPr>
        <p:spPr>
          <a:xfrm>
            <a:off x="7095514" y="2850062"/>
            <a:ext cx="419414" cy="21653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38A8D19-4F59-F456-9299-78FE6E56D0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1781" y="137177"/>
            <a:ext cx="10328098" cy="338554"/>
          </a:xfrm>
        </p:spPr>
        <p:txBody>
          <a:bodyPr vert="horz"/>
          <a:lstStyle/>
          <a:p>
            <a:r>
              <a:rPr lang="ru-RU" sz="2200" b="1" dirty="0">
                <a:solidFill>
                  <a:srgbClr val="18347C"/>
                </a:solidFill>
                <a:latin typeface="+mn-lt"/>
              </a:rPr>
              <a:t>Борьба с дезинформацией и вредоносным контентом </a:t>
            </a:r>
          </a:p>
        </p:txBody>
      </p:sp>
      <p:sp>
        <p:nvSpPr>
          <p:cNvPr id="164" name="RBContent37">
            <a:extLst>
              <a:ext uri="{FF2B5EF4-FFF2-40B4-BE49-F238E27FC236}">
                <a16:creationId xmlns:a16="http://schemas.microsoft.com/office/drawing/2014/main" id="{4E0AC51B-0583-9393-0FD7-A3C6E1E4129A}"/>
              </a:ext>
            </a:extLst>
          </p:cNvPr>
          <p:cNvSpPr txBox="1">
            <a:spLocks/>
          </p:cNvSpPr>
          <p:nvPr/>
        </p:nvSpPr>
        <p:spPr>
          <a:xfrm>
            <a:off x="595450" y="1057605"/>
            <a:ext cx="5154815" cy="60529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Глобальные тренды</a:t>
            </a:r>
          </a:p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endParaRPr lang="en-US" sz="2000" b="1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1963929F-0112-C845-EAEC-6701C2945A87}"/>
              </a:ext>
            </a:extLst>
          </p:cNvPr>
          <p:cNvSpPr/>
          <p:nvPr/>
        </p:nvSpPr>
        <p:spPr>
          <a:xfrm>
            <a:off x="0" y="0"/>
            <a:ext cx="800859" cy="686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b="1" dirty="0"/>
              <a:t>3</a:t>
            </a:r>
            <a:endParaRPr lang="en-US" sz="36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C2B74F-120D-4291-6F2C-FEDDCCB12D8C}"/>
              </a:ext>
            </a:extLst>
          </p:cNvPr>
          <p:cNvSpPr/>
          <p:nvPr/>
        </p:nvSpPr>
        <p:spPr>
          <a:xfrm>
            <a:off x="11785808" y="6277033"/>
            <a:ext cx="406192" cy="382152"/>
          </a:xfrm>
          <a:prstGeom prst="rect">
            <a:avLst/>
          </a:prstGeom>
          <a:solidFill>
            <a:srgbClr val="183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5</a:t>
            </a:r>
            <a:endParaRPr lang="en-US" sz="1400" b="1" dirty="0"/>
          </a:p>
        </p:txBody>
      </p:sp>
      <p:sp>
        <p:nvSpPr>
          <p:cNvPr id="5" name="RBContent37">
            <a:extLst>
              <a:ext uri="{FF2B5EF4-FFF2-40B4-BE49-F238E27FC236}">
                <a16:creationId xmlns:a16="http://schemas.microsoft.com/office/drawing/2014/main" id="{DE95BB3E-DD60-0343-989D-265FE0244FCC}"/>
              </a:ext>
            </a:extLst>
          </p:cNvPr>
          <p:cNvSpPr txBox="1">
            <a:spLocks/>
          </p:cNvSpPr>
          <p:nvPr/>
        </p:nvSpPr>
        <p:spPr>
          <a:xfrm>
            <a:off x="5943600" y="1015030"/>
            <a:ext cx="5154815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Тренды в России</a:t>
            </a:r>
            <a:endParaRPr lang="en-US" sz="2000" b="1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B9F0DD-F9B2-0F95-E3AC-C4655EE4942F}"/>
              </a:ext>
            </a:extLst>
          </p:cNvPr>
          <p:cNvSpPr txBox="1"/>
          <p:nvPr/>
        </p:nvSpPr>
        <p:spPr>
          <a:xfrm>
            <a:off x="1041087" y="2321716"/>
            <a:ext cx="484735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latin typeface="+mn-lt"/>
                <a:ea typeface="Aptos" panose="020B0004020202020204" pitchFamily="34" charset="0"/>
              </a:rPr>
              <a:t>ЕС:</a:t>
            </a:r>
            <a:r>
              <a:rPr lang="ru-RU" sz="1400" dirty="0">
                <a:latin typeface="+mn-lt"/>
                <a:ea typeface="Aptos" panose="020B0004020202020204" pitchFamily="34" charset="0"/>
              </a:rPr>
              <a:t> Согласно DSA крупные платформы и поисковые системы обязаны оценивать системные риски и принимать меры по их снижению (против дезинформации, противодействие ботам</a:t>
            </a:r>
            <a:endParaRPr lang="en-US" sz="1400" dirty="0">
              <a:latin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107867-B9D1-3EB8-E63C-AC7689D06BA7}"/>
              </a:ext>
            </a:extLst>
          </p:cNvPr>
          <p:cNvSpPr txBox="1"/>
          <p:nvPr/>
        </p:nvSpPr>
        <p:spPr>
          <a:xfrm>
            <a:off x="490610" y="1490719"/>
            <a:ext cx="545299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Платформы все более активно вовлекаются в работу по выявлению и удалению незаконного контента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9D87B8-4EED-4D01-21CA-C16F5ED5F904}"/>
              </a:ext>
            </a:extLst>
          </p:cNvPr>
          <p:cNvSpPr txBox="1"/>
          <p:nvPr/>
        </p:nvSpPr>
        <p:spPr>
          <a:xfrm>
            <a:off x="6542800" y="1482349"/>
            <a:ext cx="565309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Усиление борьбы с сайтами-зеркалами и фальшивыми аккаунтами, расширение перечня запрещенной к распространению информации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91E7B9-4102-0EFF-48FE-DF30665E066D}"/>
              </a:ext>
            </a:extLst>
          </p:cNvPr>
          <p:cNvSpPr txBox="1"/>
          <p:nvPr/>
        </p:nvSpPr>
        <p:spPr>
          <a:xfrm>
            <a:off x="967194" y="3351403"/>
            <a:ext cx="484735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latin typeface="+mn-lt"/>
                <a:ea typeface="Aptos" panose="020B0004020202020204" pitchFamily="34" charset="0"/>
              </a:rPr>
              <a:t>США: </a:t>
            </a:r>
            <a:r>
              <a:rPr lang="ru-RU" sz="1400" dirty="0">
                <a:latin typeface="+mn-lt"/>
                <a:ea typeface="Aptos" panose="020B0004020202020204" pitchFamily="34" charset="0"/>
              </a:rPr>
              <a:t>дискуссии об отмене или реформе Раздела 230 (закон, предоставляющий платформам иммунитет за контент пользователей) продолжаются</a:t>
            </a:r>
            <a:endParaRPr lang="en-US" sz="1400" dirty="0">
              <a:latin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51DFFA-D7B2-0859-3CF7-9F3E592DBF04}"/>
              </a:ext>
            </a:extLst>
          </p:cNvPr>
          <p:cNvSpPr txBox="1"/>
          <p:nvPr/>
        </p:nvSpPr>
        <p:spPr>
          <a:xfrm>
            <a:off x="566765" y="4268929"/>
            <a:ext cx="545299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Наряду с запрещенным контентом выделяется деструктивный контент – прямо не запрещенный, но способный причинить вред человеку («серая зона»), который также должны модерировать платформы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DCA6DE3-3692-ACF4-8EB7-F688982E8C63}"/>
              </a:ext>
            </a:extLst>
          </p:cNvPr>
          <p:cNvSpPr txBox="1"/>
          <p:nvPr/>
        </p:nvSpPr>
        <p:spPr>
          <a:xfrm>
            <a:off x="6542800" y="4305510"/>
            <a:ext cx="565309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Попытки создать методические рекомендации по выявлению и пресечению распространения деструктивного контента и классификатор деструктивного контента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13B5FF-947A-893B-3EF0-A43A3008EA55}"/>
              </a:ext>
            </a:extLst>
          </p:cNvPr>
          <p:cNvSpPr txBox="1"/>
          <p:nvPr/>
        </p:nvSpPr>
        <p:spPr>
          <a:xfrm>
            <a:off x="6538902" y="2478262"/>
            <a:ext cx="565309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Запрет продвижения способов обхода блокировок </a:t>
            </a:r>
            <a:r>
              <a:rPr lang="en-US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(</a:t>
            </a: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запрет рекламы </a:t>
            </a:r>
            <a:r>
              <a:rPr lang="en-US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VPN)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41C25A3-B701-35AF-23C7-DF05109FDF99}"/>
              </a:ext>
            </a:extLst>
          </p:cNvPr>
          <p:cNvSpPr txBox="1"/>
          <p:nvPr/>
        </p:nvSpPr>
        <p:spPr>
          <a:xfrm>
            <a:off x="749180" y="5592368"/>
            <a:ext cx="4847353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latin typeface="+mn-lt"/>
                <a:ea typeface="Aptos" panose="020B0004020202020204" pitchFamily="34" charset="0"/>
              </a:rPr>
              <a:t>Великобритания:</a:t>
            </a:r>
            <a:r>
              <a:rPr lang="ru-RU" sz="1400" dirty="0">
                <a:latin typeface="+mn-lt"/>
                <a:ea typeface="Aptos" panose="020B0004020202020204" pitchFamily="34" charset="0"/>
              </a:rPr>
              <a:t> Регулятор (Ofcom) утверждает кодекс в отношении незаконного и легального, но вредного контента, для компаний в социальных сетях и поставщиков цифровых услуг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1400" dirty="0"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CDCB59F-1EA2-9E71-7009-6C0687CFAE85}"/>
              </a:ext>
            </a:extLst>
          </p:cNvPr>
          <p:cNvSpPr txBox="1"/>
          <p:nvPr/>
        </p:nvSpPr>
        <p:spPr>
          <a:xfrm>
            <a:off x="6538902" y="3268775"/>
            <a:ext cx="565309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Введение административной ответственности за поиск определенного контента (например, экстремистские материалы)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pic>
        <p:nvPicPr>
          <p:cNvPr id="18" name="Рисунок 5">
            <a:extLst>
              <a:ext uri="{FF2B5EF4-FFF2-40B4-BE49-F238E27FC236}">
                <a16:creationId xmlns:a16="http://schemas.microsoft.com/office/drawing/2014/main" id="{D9534A20-6159-6B92-D374-FA29EB517E1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3085" y="908344"/>
            <a:ext cx="734085" cy="49036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Рисунок 79" descr="Земной шар: Северная и Южная Америка со сплошной заливкой">
            <a:extLst>
              <a:ext uri="{FF2B5EF4-FFF2-40B4-BE49-F238E27FC236}">
                <a16:creationId xmlns:a16="http://schemas.microsoft.com/office/drawing/2014/main" id="{0FF3D195-BA08-48F6-72F9-1E158D147B1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8094" y="736565"/>
            <a:ext cx="912396" cy="912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0130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417EA8-3655-B522-27A0-C444C197A6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6BA7F8B-96E1-12BF-E38C-BCE74018F2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6" progId="TCLayout.ActiveDocument.1">
                  <p:embed/>
                </p:oleObj>
              </mc:Choice>
              <mc:Fallback>
                <p:oleObj name="Слайд think-cell" r:id="rId3" imgW="473" imgH="47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222DB82-22C2-5A8B-5F03-15FC9D7F4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DE5CD34B-3245-DC6B-1EE3-B4B5FE6839B7}"/>
              </a:ext>
            </a:extLst>
          </p:cNvPr>
          <p:cNvSpPr/>
          <p:nvPr/>
        </p:nvSpPr>
        <p:spPr>
          <a:xfrm>
            <a:off x="7095514" y="2850062"/>
            <a:ext cx="419414" cy="21653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F348477-5047-FBEB-C6C9-F54386587C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6247" y="184118"/>
            <a:ext cx="10328098" cy="338554"/>
          </a:xfrm>
        </p:spPr>
        <p:txBody>
          <a:bodyPr vert="horz"/>
          <a:lstStyle/>
          <a:p>
            <a:r>
              <a:rPr lang="ru-RU" sz="2200" b="1" dirty="0">
                <a:solidFill>
                  <a:srgbClr val="18347C"/>
                </a:solidFill>
                <a:latin typeface="+mn-lt"/>
              </a:rPr>
              <a:t>Кибербезопасность, защита данных и устойчивость КИИ</a:t>
            </a:r>
          </a:p>
        </p:txBody>
      </p:sp>
      <p:sp>
        <p:nvSpPr>
          <p:cNvPr id="164" name="RBContent37">
            <a:extLst>
              <a:ext uri="{FF2B5EF4-FFF2-40B4-BE49-F238E27FC236}">
                <a16:creationId xmlns:a16="http://schemas.microsoft.com/office/drawing/2014/main" id="{FA6632EC-18C4-3FBC-30AA-F6A47166AD02}"/>
              </a:ext>
            </a:extLst>
          </p:cNvPr>
          <p:cNvSpPr txBox="1">
            <a:spLocks/>
          </p:cNvSpPr>
          <p:nvPr/>
        </p:nvSpPr>
        <p:spPr>
          <a:xfrm>
            <a:off x="595450" y="1057605"/>
            <a:ext cx="5154815" cy="60529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Глобальные тренды</a:t>
            </a:r>
          </a:p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endParaRPr lang="en-US" sz="2000" b="1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90B9C399-3F2C-90AE-D693-2650C7DDF686}"/>
              </a:ext>
            </a:extLst>
          </p:cNvPr>
          <p:cNvSpPr/>
          <p:nvPr/>
        </p:nvSpPr>
        <p:spPr>
          <a:xfrm>
            <a:off x="0" y="0"/>
            <a:ext cx="800859" cy="686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b="1" dirty="0"/>
              <a:t>4</a:t>
            </a:r>
            <a:endParaRPr lang="en-US" sz="36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83E440-F287-556B-FE2B-FA569488858D}"/>
              </a:ext>
            </a:extLst>
          </p:cNvPr>
          <p:cNvSpPr/>
          <p:nvPr/>
        </p:nvSpPr>
        <p:spPr>
          <a:xfrm>
            <a:off x="11785808" y="6277033"/>
            <a:ext cx="406192" cy="382152"/>
          </a:xfrm>
          <a:prstGeom prst="rect">
            <a:avLst/>
          </a:prstGeom>
          <a:solidFill>
            <a:srgbClr val="183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6</a:t>
            </a:r>
            <a:endParaRPr lang="en-US" sz="1400" b="1" dirty="0"/>
          </a:p>
        </p:txBody>
      </p:sp>
      <p:sp>
        <p:nvSpPr>
          <p:cNvPr id="5" name="RBContent37">
            <a:extLst>
              <a:ext uri="{FF2B5EF4-FFF2-40B4-BE49-F238E27FC236}">
                <a16:creationId xmlns:a16="http://schemas.microsoft.com/office/drawing/2014/main" id="{1F89C14A-D037-3649-B13F-65FD07BD144C}"/>
              </a:ext>
            </a:extLst>
          </p:cNvPr>
          <p:cNvSpPr txBox="1">
            <a:spLocks/>
          </p:cNvSpPr>
          <p:nvPr/>
        </p:nvSpPr>
        <p:spPr>
          <a:xfrm>
            <a:off x="5943600" y="1015030"/>
            <a:ext cx="5154815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Тренды в России</a:t>
            </a:r>
            <a:endParaRPr lang="en-US" sz="2000" b="1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4503ADE-D174-3A34-F4AE-3B85D26FDBB2}"/>
              </a:ext>
            </a:extLst>
          </p:cNvPr>
          <p:cNvSpPr txBox="1"/>
          <p:nvPr/>
        </p:nvSpPr>
        <p:spPr>
          <a:xfrm>
            <a:off x="1017266" y="2736191"/>
            <a:ext cx="4847353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300" dirty="0">
                <a:latin typeface="+mn-lt"/>
                <a:ea typeface="Aptos" panose="020B0004020202020204" pitchFamily="34" charset="0"/>
              </a:rPr>
              <a:t>Провайдеры публично доступных электронных коммуникационных сетей или услуг и провайдеры услуг систем доменных имен (DNS) выполняют обязаности по управлению рисками кибербезопасности, инцидентам (обязательное сообщение о значительных инцидентах), безопасности цепочки поставок и др.</a:t>
            </a:r>
            <a:endParaRPr lang="en-US" sz="1300" dirty="0">
              <a:latin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0C41BF1-5D89-E43A-17D2-363722D68279}"/>
              </a:ext>
            </a:extLst>
          </p:cNvPr>
          <p:cNvSpPr txBox="1"/>
          <p:nvPr/>
        </p:nvSpPr>
        <p:spPr>
          <a:xfrm>
            <a:off x="490610" y="1490719"/>
            <a:ext cx="545299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Директива по безопасности сетей и информации (NIS2 Directive) в октябре 2024 года дополнена новыми редакциями, специально касающимися регистраторов доменных имен и поставщиков услуг DNS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236086-F743-F4BB-9F92-7F26D2970193}"/>
              </a:ext>
            </a:extLst>
          </p:cNvPr>
          <p:cNvSpPr txBox="1"/>
          <p:nvPr/>
        </p:nvSpPr>
        <p:spPr>
          <a:xfrm>
            <a:off x="6470256" y="1492438"/>
            <a:ext cx="565309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Развитие требований по выделению вычислительной мощности, необходимой для работы СОРМ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CAF132-CFBD-CEB0-2A0C-5373A0BC96EF}"/>
              </a:ext>
            </a:extLst>
          </p:cNvPr>
          <p:cNvSpPr txBox="1"/>
          <p:nvPr/>
        </p:nvSpPr>
        <p:spPr>
          <a:xfrm>
            <a:off x="1017265" y="5961181"/>
            <a:ext cx="4847353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300" dirty="0">
                <a:latin typeface="+mn-lt"/>
                <a:ea typeface="Aptos" panose="020B0004020202020204" pitchFamily="34" charset="0"/>
              </a:rPr>
              <a:t>КИИ: акцент смещается с предотвращения к устойчивости и способности быстро восстанавливаться</a:t>
            </a:r>
            <a:endParaRPr lang="en-US" sz="1300" dirty="0"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FA2354E-70F7-D851-46F8-FAA3463B2089}"/>
              </a:ext>
            </a:extLst>
          </p:cNvPr>
          <p:cNvSpPr txBox="1"/>
          <p:nvPr/>
        </p:nvSpPr>
        <p:spPr>
          <a:xfrm>
            <a:off x="6470256" y="2440732"/>
            <a:ext cx="5653098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Ужесточение административной и уголовной ответственности за нарушения в сфере обращения персональных данных, а также изменение требований в сфере работы с персональными данными, в том числе обезличенными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8E063E5-4220-3D15-8047-DC2DD527176B}"/>
              </a:ext>
            </a:extLst>
          </p:cNvPr>
          <p:cNvSpPr txBox="1"/>
          <p:nvPr/>
        </p:nvSpPr>
        <p:spPr>
          <a:xfrm>
            <a:off x="6551221" y="3998765"/>
            <a:ext cx="565309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Закон против кибермошенничества (№41-ФЗ от 01.04.2025 г.)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55B6433-9CAF-BA81-BBB3-0ABAC863D6B4}"/>
              </a:ext>
            </a:extLst>
          </p:cNvPr>
          <p:cNvSpPr/>
          <p:nvPr/>
        </p:nvSpPr>
        <p:spPr>
          <a:xfrm>
            <a:off x="7360901" y="4414263"/>
            <a:ext cx="4218020" cy="13062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запрет на звонки через иностранные мессенджеры для отдельных организаций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обязательная маркировка звонков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защита от перехвата SMS-кодов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ужесточение требований к использованию SIM-карт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3A7CC9-724E-A57B-7B29-E7EDCA895F2D}"/>
              </a:ext>
            </a:extLst>
          </p:cNvPr>
          <p:cNvSpPr txBox="1"/>
          <p:nvPr/>
        </p:nvSpPr>
        <p:spPr>
          <a:xfrm>
            <a:off x="352734" y="3998765"/>
            <a:ext cx="545299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США: реализация и ужесточение директив CISA (Агентство по кибербезопасности и инфраструктурной безопасности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ED5D9D1-BBBC-B66D-DF78-9A4D3962812F}"/>
              </a:ext>
            </a:extLst>
          </p:cNvPr>
          <p:cNvSpPr txBox="1"/>
          <p:nvPr/>
        </p:nvSpPr>
        <p:spPr>
          <a:xfrm>
            <a:off x="1096247" y="4850374"/>
            <a:ext cx="4847353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300" dirty="0">
                <a:latin typeface="+mn-lt"/>
                <a:ea typeface="Aptos" panose="020B0004020202020204" pitchFamily="34" charset="0"/>
              </a:rPr>
              <a:t>продвижение модели «безопасность по дизайну» (Security by Design) для производителей ПО и IoT-устройств, закрепленная на законодательном уровне: производители будут нести больше ответственности за уязвимости</a:t>
            </a:r>
            <a:endParaRPr lang="en-US" sz="1300" dirty="0">
              <a:latin typeface="+mn-lt"/>
            </a:endParaRPr>
          </a:p>
        </p:txBody>
      </p:sp>
      <p:pic>
        <p:nvPicPr>
          <p:cNvPr id="18" name="Рисунок 5">
            <a:extLst>
              <a:ext uri="{FF2B5EF4-FFF2-40B4-BE49-F238E27FC236}">
                <a16:creationId xmlns:a16="http://schemas.microsoft.com/office/drawing/2014/main" id="{37FDE574-01DA-F8C6-734F-AA5E74BD30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1136" y="932675"/>
            <a:ext cx="734085" cy="49036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Рисунок 79" descr="Земной шар: Северная и Южная Америка со сплошной заливкой">
            <a:extLst>
              <a:ext uri="{FF2B5EF4-FFF2-40B4-BE49-F238E27FC236}">
                <a16:creationId xmlns:a16="http://schemas.microsoft.com/office/drawing/2014/main" id="{B072CE6A-0D6C-8088-2192-1DFE28EAED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7265" y="72065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4423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71E4AE-B2E4-80E8-5C6D-9FD9AE467E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ED361511-1E8C-E096-2A7D-C482AF2367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6" progId="TCLayout.ActiveDocument.1">
                  <p:embed/>
                </p:oleObj>
              </mc:Choice>
              <mc:Fallback>
                <p:oleObj name="Слайд think-cell" r:id="rId3" imgW="473" imgH="47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6BA7F8B-96E1-12BF-E38C-BCE74018F2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B844C9FC-29F1-77E8-EBF7-F180AD3B5F7C}"/>
              </a:ext>
            </a:extLst>
          </p:cNvPr>
          <p:cNvSpPr/>
          <p:nvPr/>
        </p:nvSpPr>
        <p:spPr>
          <a:xfrm>
            <a:off x="7095514" y="2850062"/>
            <a:ext cx="419414" cy="21653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66957A-536E-29DF-2F94-040F50DAC1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6247" y="184118"/>
            <a:ext cx="10328098" cy="338554"/>
          </a:xfrm>
        </p:spPr>
        <p:txBody>
          <a:bodyPr vert="horz"/>
          <a:lstStyle/>
          <a:p>
            <a:r>
              <a:rPr lang="ru-RU" sz="2200" b="1" dirty="0">
                <a:solidFill>
                  <a:srgbClr val="18347C"/>
                </a:solidFill>
                <a:latin typeface="+mn-lt"/>
              </a:rPr>
              <a:t>Цифровой суверенитет и локализация данных</a:t>
            </a:r>
          </a:p>
        </p:txBody>
      </p:sp>
      <p:sp>
        <p:nvSpPr>
          <p:cNvPr id="164" name="RBContent37">
            <a:extLst>
              <a:ext uri="{FF2B5EF4-FFF2-40B4-BE49-F238E27FC236}">
                <a16:creationId xmlns:a16="http://schemas.microsoft.com/office/drawing/2014/main" id="{B16BDE9F-888E-A12A-9F85-79C55DDCBD77}"/>
              </a:ext>
            </a:extLst>
          </p:cNvPr>
          <p:cNvSpPr txBox="1">
            <a:spLocks/>
          </p:cNvSpPr>
          <p:nvPr/>
        </p:nvSpPr>
        <p:spPr>
          <a:xfrm>
            <a:off x="595450" y="1057605"/>
            <a:ext cx="5154815" cy="60529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Глобальные тренды</a:t>
            </a:r>
          </a:p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endParaRPr lang="en-US" sz="2000" b="1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C79A86FB-C09D-AE5E-C4AA-A25F9ADAD656}"/>
              </a:ext>
            </a:extLst>
          </p:cNvPr>
          <p:cNvSpPr/>
          <p:nvPr/>
        </p:nvSpPr>
        <p:spPr>
          <a:xfrm>
            <a:off x="0" y="0"/>
            <a:ext cx="800859" cy="686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b="1" dirty="0"/>
              <a:t>5</a:t>
            </a:r>
            <a:endParaRPr lang="en-US" sz="36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8F1B83-D2AB-6501-4EED-560BEF8A2DFD}"/>
              </a:ext>
            </a:extLst>
          </p:cNvPr>
          <p:cNvSpPr/>
          <p:nvPr/>
        </p:nvSpPr>
        <p:spPr>
          <a:xfrm>
            <a:off x="11785808" y="6277033"/>
            <a:ext cx="406192" cy="382152"/>
          </a:xfrm>
          <a:prstGeom prst="rect">
            <a:avLst/>
          </a:prstGeom>
          <a:solidFill>
            <a:srgbClr val="183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7</a:t>
            </a:r>
            <a:endParaRPr lang="en-US" sz="1400" b="1" dirty="0"/>
          </a:p>
        </p:txBody>
      </p:sp>
      <p:sp>
        <p:nvSpPr>
          <p:cNvPr id="5" name="RBContent37">
            <a:extLst>
              <a:ext uri="{FF2B5EF4-FFF2-40B4-BE49-F238E27FC236}">
                <a16:creationId xmlns:a16="http://schemas.microsoft.com/office/drawing/2014/main" id="{7F2E9098-4B52-8DDA-1FFC-954FB9B91AFC}"/>
              </a:ext>
            </a:extLst>
          </p:cNvPr>
          <p:cNvSpPr txBox="1">
            <a:spLocks/>
          </p:cNvSpPr>
          <p:nvPr/>
        </p:nvSpPr>
        <p:spPr>
          <a:xfrm>
            <a:off x="5943600" y="1015030"/>
            <a:ext cx="5154815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Тренды в России</a:t>
            </a:r>
            <a:endParaRPr lang="en-US" sz="2000" b="1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D9E544E-BE9F-CCF6-DDA7-05D7AF675460}"/>
              </a:ext>
            </a:extLst>
          </p:cNvPr>
          <p:cNvSpPr txBox="1"/>
          <p:nvPr/>
        </p:nvSpPr>
        <p:spPr>
          <a:xfrm>
            <a:off x="595450" y="1779012"/>
            <a:ext cx="545299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Все страны продолжают требовать, чтобы данные их граждан обрабатывались и хранились на их территории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EEEEA2-57FB-A0A2-0D2A-D29F72C09B81}"/>
              </a:ext>
            </a:extLst>
          </p:cNvPr>
          <p:cNvSpPr txBox="1"/>
          <p:nvPr/>
        </p:nvSpPr>
        <p:spPr>
          <a:xfrm>
            <a:off x="6538902" y="1779012"/>
            <a:ext cx="5653098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Продолжается реализация закон о "суверенном интернете", </a:t>
            </a:r>
            <a:r>
              <a:rPr lang="ru-RU" sz="1400" dirty="0">
                <a:latin typeface="+mn-lt"/>
                <a:ea typeface="Aptos" panose="020B0004020202020204" pitchFamily="34" charset="0"/>
              </a:rPr>
              <a:t>в том числе в части установка технических средств противодействия угрозам, создания реестра точек обмена трафиком, участия в ежегодных учениях владельцев сетей связи, интернет-компаний и др</a:t>
            </a: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.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5D3FCCD-7D21-4DAD-5B94-06361ACD5F4C}"/>
              </a:ext>
            </a:extLst>
          </p:cNvPr>
          <p:cNvSpPr txBox="1"/>
          <p:nvPr/>
        </p:nvSpPr>
        <p:spPr>
          <a:xfrm>
            <a:off x="6538902" y="3307223"/>
            <a:ext cx="565309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Переход на отечественное ПО и оборудование по-прежнему носит рекомендательный характер  </a:t>
            </a:r>
            <a:r>
              <a:rPr lang="ru-RU" sz="1400" dirty="0">
                <a:latin typeface="+mn-lt"/>
                <a:ea typeface="Aptos" panose="020B0004020202020204" pitchFamily="34" charset="0"/>
              </a:rPr>
              <a:t>(приказ Минцифры России от 18 января 2023 г. № 21), </a:t>
            </a:r>
            <a:r>
              <a:rPr lang="ru-RU" sz="1600" b="1" dirty="0">
                <a:solidFill>
                  <a:schemeClr val="accent1"/>
                </a:solidFill>
                <a:latin typeface="+mn-lt"/>
                <a:ea typeface="Aptos" panose="020B0004020202020204" pitchFamily="34" charset="0"/>
              </a:rPr>
              <a:t>за исключением КИИ, где вводится обязанность преимущественного использования отечественного ПО и оборудования</a:t>
            </a:r>
            <a:r>
              <a:rPr lang="ru-RU" sz="1600" dirty="0">
                <a:latin typeface="+mn-lt"/>
                <a:ea typeface="Aptos" panose="020B0004020202020204" pitchFamily="34" charset="0"/>
              </a:rPr>
              <a:t> </a:t>
            </a:r>
            <a:r>
              <a:rPr lang="ru-RU" sz="1400" dirty="0">
                <a:latin typeface="+mn-lt"/>
                <a:ea typeface="Aptos" panose="020B0004020202020204" pitchFamily="34" charset="0"/>
              </a:rPr>
              <a:t>(ФЗ №58-ФЗ, вступивший в силу с 01.09.2025 г.) </a:t>
            </a:r>
            <a:endParaRPr lang="en-US" sz="1400" dirty="0">
              <a:latin typeface="+mn-lt"/>
            </a:endParaRPr>
          </a:p>
        </p:txBody>
      </p:sp>
      <p:pic>
        <p:nvPicPr>
          <p:cNvPr id="18" name="Рисунок 5">
            <a:extLst>
              <a:ext uri="{FF2B5EF4-FFF2-40B4-BE49-F238E27FC236}">
                <a16:creationId xmlns:a16="http://schemas.microsoft.com/office/drawing/2014/main" id="{336FD786-59B3-496A-4BCC-80E0F1D12CE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1136" y="932675"/>
            <a:ext cx="734085" cy="49036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Рисунок 79" descr="Земной шар: Северная и Южная Америка со сплошной заливкой">
            <a:extLst>
              <a:ext uri="{FF2B5EF4-FFF2-40B4-BE49-F238E27FC236}">
                <a16:creationId xmlns:a16="http://schemas.microsoft.com/office/drawing/2014/main" id="{36B5EC44-096E-A812-964C-C8259E18D3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7265" y="720659"/>
            <a:ext cx="914400" cy="9144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BC10CA4-72FF-9057-5A8E-CC8422A025B5}"/>
              </a:ext>
            </a:extLst>
          </p:cNvPr>
          <p:cNvSpPr txBox="1"/>
          <p:nvPr/>
        </p:nvSpPr>
        <p:spPr>
          <a:xfrm>
            <a:off x="6571136" y="5192238"/>
            <a:ext cx="565309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С 1 июля 2025 года начала действовать в обновленном виде норма о локализации персональных данных </a:t>
            </a:r>
            <a:r>
              <a:rPr lang="en-US" sz="1400" dirty="0">
                <a:latin typeface="+mn-lt"/>
                <a:ea typeface="Aptos" panose="020B0004020202020204" pitchFamily="34" charset="0"/>
              </a:rPr>
              <a:t>(</a:t>
            </a:r>
            <a:r>
              <a:rPr lang="ru-RU" sz="1400" dirty="0">
                <a:latin typeface="+mn-lt"/>
                <a:ea typeface="Aptos" panose="020B0004020202020204" pitchFamily="34" charset="0"/>
              </a:rPr>
              <a:t>ФЗ от 28.02.2025 № 23-ФЗ)</a:t>
            </a:r>
            <a:endParaRPr lang="en-US" sz="1400" dirty="0"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28B6A6-127B-733F-C1FE-108C143C7318}"/>
              </a:ext>
            </a:extLst>
          </p:cNvPr>
          <p:cNvSpPr txBox="1"/>
          <p:nvPr/>
        </p:nvSpPr>
        <p:spPr>
          <a:xfrm>
            <a:off x="643010" y="3013501"/>
            <a:ext cx="545299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Порядок трансграничной передачи данных ужесточается (Китай, ЕС, особенно Германия и Франция)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105500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481D97-0F8D-7824-93EC-9B48B5617B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40D6AE1-2255-BDD0-75AB-85F5D2E207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6" progId="TCLayout.ActiveDocument.1">
                  <p:embed/>
                </p:oleObj>
              </mc:Choice>
              <mc:Fallback>
                <p:oleObj name="Слайд think-cell" r:id="rId3" imgW="473" imgH="47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6BA7F8B-96E1-12BF-E38C-BCE74018F2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1A32B25E-576C-5BEE-2335-9C093E4A50FF}"/>
              </a:ext>
            </a:extLst>
          </p:cNvPr>
          <p:cNvSpPr/>
          <p:nvPr/>
        </p:nvSpPr>
        <p:spPr>
          <a:xfrm>
            <a:off x="7095514" y="2850062"/>
            <a:ext cx="419414" cy="21653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E7C957-E6CB-8B7E-1DD0-4817063C93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6247" y="184118"/>
            <a:ext cx="10328098" cy="338554"/>
          </a:xfrm>
        </p:spPr>
        <p:txBody>
          <a:bodyPr vert="horz"/>
          <a:lstStyle/>
          <a:p>
            <a:r>
              <a:rPr lang="ru-RU" sz="2200" b="1" dirty="0">
                <a:solidFill>
                  <a:srgbClr val="18347C"/>
                </a:solidFill>
                <a:latin typeface="+mn-lt"/>
              </a:rPr>
              <a:t>«Монетизация» Интернета государством</a:t>
            </a:r>
          </a:p>
        </p:txBody>
      </p:sp>
      <p:sp>
        <p:nvSpPr>
          <p:cNvPr id="164" name="RBContent37">
            <a:extLst>
              <a:ext uri="{FF2B5EF4-FFF2-40B4-BE49-F238E27FC236}">
                <a16:creationId xmlns:a16="http://schemas.microsoft.com/office/drawing/2014/main" id="{58F93D27-9F6E-F01D-BEEC-14731B351083}"/>
              </a:ext>
            </a:extLst>
          </p:cNvPr>
          <p:cNvSpPr txBox="1">
            <a:spLocks/>
          </p:cNvSpPr>
          <p:nvPr/>
        </p:nvSpPr>
        <p:spPr>
          <a:xfrm>
            <a:off x="595450" y="1057605"/>
            <a:ext cx="5154815" cy="60529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Глобальные тренды</a:t>
            </a:r>
          </a:p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endParaRPr lang="en-US" sz="2000" b="1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5D440834-1666-2E35-960D-C9DCD2DF1974}"/>
              </a:ext>
            </a:extLst>
          </p:cNvPr>
          <p:cNvSpPr/>
          <p:nvPr/>
        </p:nvSpPr>
        <p:spPr>
          <a:xfrm>
            <a:off x="0" y="0"/>
            <a:ext cx="800859" cy="686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b="1" dirty="0"/>
              <a:t>6</a:t>
            </a:r>
            <a:endParaRPr lang="en-US" sz="36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D6A2548-4A53-6C8C-D436-AB49ED104F21}"/>
              </a:ext>
            </a:extLst>
          </p:cNvPr>
          <p:cNvSpPr/>
          <p:nvPr/>
        </p:nvSpPr>
        <p:spPr>
          <a:xfrm>
            <a:off x="11785808" y="6277033"/>
            <a:ext cx="406192" cy="382152"/>
          </a:xfrm>
          <a:prstGeom prst="rect">
            <a:avLst/>
          </a:prstGeom>
          <a:solidFill>
            <a:srgbClr val="183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8</a:t>
            </a:r>
            <a:endParaRPr lang="en-US" sz="1400" b="1" dirty="0"/>
          </a:p>
        </p:txBody>
      </p:sp>
      <p:sp>
        <p:nvSpPr>
          <p:cNvPr id="5" name="RBContent37">
            <a:extLst>
              <a:ext uri="{FF2B5EF4-FFF2-40B4-BE49-F238E27FC236}">
                <a16:creationId xmlns:a16="http://schemas.microsoft.com/office/drawing/2014/main" id="{F0210121-FA86-286B-D645-562746EFEF7D}"/>
              </a:ext>
            </a:extLst>
          </p:cNvPr>
          <p:cNvSpPr txBox="1">
            <a:spLocks/>
          </p:cNvSpPr>
          <p:nvPr/>
        </p:nvSpPr>
        <p:spPr>
          <a:xfrm>
            <a:off x="5943600" y="1015030"/>
            <a:ext cx="5154815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Тренды в России</a:t>
            </a:r>
            <a:endParaRPr lang="en-US" sz="2000" b="1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C039CF3-F158-FF82-1CB0-16FF672B97DC}"/>
              </a:ext>
            </a:extLst>
          </p:cNvPr>
          <p:cNvSpPr txBox="1"/>
          <p:nvPr/>
        </p:nvSpPr>
        <p:spPr>
          <a:xfrm>
            <a:off x="1017264" y="2023208"/>
            <a:ext cx="484735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b="1" dirty="0">
                <a:latin typeface="+mn-lt"/>
                <a:ea typeface="Aptos" panose="020B0004020202020204" pitchFamily="34" charset="0"/>
              </a:rPr>
              <a:t>ЕС</a:t>
            </a:r>
            <a:r>
              <a:rPr lang="ru-RU" sz="1200" dirty="0">
                <a:latin typeface="+mn-lt"/>
                <a:ea typeface="Aptos" panose="020B0004020202020204" pitchFamily="34" charset="0"/>
              </a:rPr>
              <a:t>: обсуждается механизм Data Tax (налогообложение компаний, которые извлекают прибыль из персональных данных пользователей без физического присутствия)</a:t>
            </a:r>
            <a:endParaRPr lang="en-US" sz="1200" dirty="0">
              <a:latin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84F7F2-12E2-B934-BEA7-91DBBA7DAB4A}"/>
              </a:ext>
            </a:extLst>
          </p:cNvPr>
          <p:cNvSpPr txBox="1"/>
          <p:nvPr/>
        </p:nvSpPr>
        <p:spPr>
          <a:xfrm>
            <a:off x="490610" y="1490719"/>
            <a:ext cx="545299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Государства активно взимают налоги с деятельность в сети «Интернет»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4CAA35-14D0-613E-FA3C-50F792B5BA66}"/>
              </a:ext>
            </a:extLst>
          </p:cNvPr>
          <p:cNvSpPr txBox="1"/>
          <p:nvPr/>
        </p:nvSpPr>
        <p:spPr>
          <a:xfrm>
            <a:off x="6470256" y="1492438"/>
            <a:ext cx="565309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Государство практически не увеличило налоговую нагрузку в сети «Интернет», единственное исключение: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397F76E-7930-8529-3137-E722E0400F13}"/>
              </a:ext>
            </a:extLst>
          </p:cNvPr>
          <p:cNvSpPr txBox="1"/>
          <p:nvPr/>
        </p:nvSpPr>
        <p:spPr>
          <a:xfrm>
            <a:off x="6571136" y="3211079"/>
            <a:ext cx="5653098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Попытки установления обязанностей платформ по передаче фискальных и иных данных в целях налогообложения и налогового контроля (передача данных, контроль  за дроблением бизнеса и тп): замена прав обязанностями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5BF6EE4-62E6-6526-8969-026BF7DE9C10}"/>
              </a:ext>
            </a:extLst>
          </p:cNvPr>
          <p:cNvSpPr/>
          <p:nvPr/>
        </p:nvSpPr>
        <p:spPr>
          <a:xfrm>
            <a:off x="7432442" y="2162374"/>
            <a:ext cx="4218020" cy="998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Wingdings" panose="05000000000000000000" pitchFamily="2" charset="2"/>
              <a:buChar char="q"/>
            </a:pPr>
            <a:r>
              <a:rPr lang="ru-RU" sz="1400" dirty="0">
                <a:solidFill>
                  <a:schemeClr val="tx1"/>
                </a:solidFill>
              </a:rPr>
              <a:t>   Появился новый неналоговый платеж: обязательные отчисления за рекламу в сети «Интернет»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4A3800-9E97-7B0E-2A4F-5E6DB0659923}"/>
              </a:ext>
            </a:extLst>
          </p:cNvPr>
          <p:cNvSpPr txBox="1"/>
          <p:nvPr/>
        </p:nvSpPr>
        <p:spPr>
          <a:xfrm>
            <a:off x="472833" y="4042842"/>
            <a:ext cx="545299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Государства используют платформы и иных субъектов для повышения цифровой прозрачности бизнеса в целях налогового контроля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24D24F-253E-22C8-732A-336E917A5A17}"/>
              </a:ext>
            </a:extLst>
          </p:cNvPr>
          <p:cNvSpPr txBox="1"/>
          <p:nvPr/>
        </p:nvSpPr>
        <p:spPr>
          <a:xfrm>
            <a:off x="1017261" y="5062888"/>
            <a:ext cx="4847353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b="1" dirty="0">
                <a:latin typeface="+mn-lt"/>
                <a:ea typeface="Aptos" panose="020B0004020202020204" pitchFamily="34" charset="0"/>
              </a:rPr>
              <a:t>ЕС</a:t>
            </a:r>
            <a:r>
              <a:rPr lang="ru-RU" sz="1200" dirty="0">
                <a:latin typeface="+mn-lt"/>
                <a:ea typeface="Aptos" panose="020B0004020202020204" pitchFamily="34" charset="0"/>
              </a:rPr>
              <a:t>: в 2025–2026 годах планируют ввести новые правила (Directive DAC7 и DAC8), которые обяжут цифровые платформы раскрывать информацию о продавцах и операциях в реальном времени</a:t>
            </a:r>
            <a:endParaRPr lang="en-US" sz="1200" dirty="0">
              <a:latin typeface="+mn-lt"/>
            </a:endParaRPr>
          </a:p>
        </p:txBody>
      </p:sp>
      <p:pic>
        <p:nvPicPr>
          <p:cNvPr id="18" name="Рисунок 5">
            <a:extLst>
              <a:ext uri="{FF2B5EF4-FFF2-40B4-BE49-F238E27FC236}">
                <a16:creationId xmlns:a16="http://schemas.microsoft.com/office/drawing/2014/main" id="{2D0BD68C-65D0-6418-7378-58D6C015441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1136" y="932675"/>
            <a:ext cx="734085" cy="49036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Рисунок 79" descr="Земной шар: Северная и Южная Америка со сплошной заливкой">
            <a:extLst>
              <a:ext uri="{FF2B5EF4-FFF2-40B4-BE49-F238E27FC236}">
                <a16:creationId xmlns:a16="http://schemas.microsoft.com/office/drawing/2014/main" id="{BD4EF89A-13AA-0978-97AE-C62766F697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7265" y="720659"/>
            <a:ext cx="914400" cy="9144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B3A6E9F-02CA-FF6E-FCA5-8B75BD22E4C3}"/>
              </a:ext>
            </a:extLst>
          </p:cNvPr>
          <p:cNvSpPr txBox="1"/>
          <p:nvPr/>
        </p:nvSpPr>
        <p:spPr>
          <a:xfrm>
            <a:off x="1017263" y="2689598"/>
            <a:ext cx="484735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b="1" dirty="0">
                <a:latin typeface="+mn-lt"/>
                <a:ea typeface="Aptos" panose="020B0004020202020204" pitchFamily="34" charset="0"/>
              </a:rPr>
              <a:t>США: </a:t>
            </a:r>
            <a:r>
              <a:rPr lang="ru-RU" sz="1200" dirty="0">
                <a:latin typeface="+mn-lt"/>
                <a:ea typeface="Aptos" panose="020B0004020202020204" pitchFamily="34" charset="0"/>
              </a:rPr>
              <a:t>эксперты предлагают налог на алгоритмическое влияние как форму опосредованного регулирования цифровых монополий</a:t>
            </a:r>
            <a:endParaRPr lang="en-US" sz="1200" dirty="0"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305B9E6-395C-F6C0-D70E-007E5E99F470}"/>
              </a:ext>
            </a:extLst>
          </p:cNvPr>
          <p:cNvSpPr txBox="1"/>
          <p:nvPr/>
        </p:nvSpPr>
        <p:spPr>
          <a:xfrm>
            <a:off x="1017262" y="3382870"/>
            <a:ext cx="484735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latin typeface="+mn-lt"/>
                <a:ea typeface="Aptos" panose="020B0004020202020204" pitchFamily="34" charset="0"/>
              </a:rPr>
              <a:t>Отдельные страны ЕС</a:t>
            </a:r>
            <a:r>
              <a:rPr lang="ru-RU" sz="1200" dirty="0">
                <a:latin typeface="+mn-lt"/>
                <a:ea typeface="Aptos" panose="020B0004020202020204" pitchFamily="34" charset="0"/>
              </a:rPr>
              <a:t>: введен налог на цифровые услуги, обсуждается его замена на глобальное соглашение OECD/G20 (Pillar One)</a:t>
            </a:r>
            <a:endParaRPr lang="en-US" sz="1200" dirty="0">
              <a:latin typeface="+mn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35DA767-E4FB-7CD3-8C18-88AE1415A170}"/>
              </a:ext>
            </a:extLst>
          </p:cNvPr>
          <p:cNvSpPr txBox="1"/>
          <p:nvPr/>
        </p:nvSpPr>
        <p:spPr>
          <a:xfrm>
            <a:off x="1017260" y="5923090"/>
            <a:ext cx="484735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b="1" dirty="0">
                <a:latin typeface="+mn-lt"/>
                <a:ea typeface="Aptos" panose="020B0004020202020204" pitchFamily="34" charset="0"/>
              </a:rPr>
              <a:t>Китай</a:t>
            </a:r>
            <a:r>
              <a:rPr lang="ru-RU" sz="1600" dirty="0">
                <a:latin typeface="+mn-lt"/>
                <a:ea typeface="Aptos" panose="020B0004020202020204" pitchFamily="34" charset="0"/>
              </a:rPr>
              <a:t>:</a:t>
            </a:r>
            <a:r>
              <a:rPr lang="ru-RU" sz="1200" dirty="0">
                <a:latin typeface="+mn-lt"/>
                <a:ea typeface="Aptos" panose="020B0004020202020204" pitchFamily="34" charset="0"/>
              </a:rPr>
              <a:t> платформы предоставляют данные обо всех операциях, физические лица, работающие через платформы, включаются в общие системы налогообложения</a:t>
            </a:r>
            <a:endParaRPr lang="en-U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579678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A2D49F-46B4-3A55-EFAB-8D35D01A0E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4672BF5A-45A5-D49C-A477-F8A5AB6272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6" progId="TCLayout.ActiveDocument.1">
                  <p:embed/>
                </p:oleObj>
              </mc:Choice>
              <mc:Fallback>
                <p:oleObj name="Слайд think-cell" r:id="rId3" imgW="473" imgH="47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40D6AE1-2255-BDD0-75AB-85F5D2E207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E9517652-14D9-4E26-41AA-276A5E7D1EC0}"/>
              </a:ext>
            </a:extLst>
          </p:cNvPr>
          <p:cNvSpPr/>
          <p:nvPr/>
        </p:nvSpPr>
        <p:spPr>
          <a:xfrm>
            <a:off x="7095514" y="2850062"/>
            <a:ext cx="419414" cy="21653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A8249B1-4BBB-12E1-6826-5860C6E7A5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6247" y="184118"/>
            <a:ext cx="10328098" cy="677108"/>
          </a:xfrm>
        </p:spPr>
        <p:txBody>
          <a:bodyPr vert="horz"/>
          <a:lstStyle/>
          <a:p>
            <a:r>
              <a:rPr lang="ru-RU" sz="2200" b="1" dirty="0">
                <a:solidFill>
                  <a:srgbClr val="18347C"/>
                </a:solidFill>
                <a:latin typeface="+mn-lt"/>
              </a:rPr>
              <a:t>Обеспечение интероперабельности и борьба с доминированием крупных платформ</a:t>
            </a:r>
          </a:p>
        </p:txBody>
      </p:sp>
      <p:sp>
        <p:nvSpPr>
          <p:cNvPr id="164" name="RBContent37">
            <a:extLst>
              <a:ext uri="{FF2B5EF4-FFF2-40B4-BE49-F238E27FC236}">
                <a16:creationId xmlns:a16="http://schemas.microsoft.com/office/drawing/2014/main" id="{806E7040-C5DC-78C6-651C-8F83CA7F64D7}"/>
              </a:ext>
            </a:extLst>
          </p:cNvPr>
          <p:cNvSpPr txBox="1">
            <a:spLocks/>
          </p:cNvSpPr>
          <p:nvPr/>
        </p:nvSpPr>
        <p:spPr>
          <a:xfrm>
            <a:off x="643010" y="1221173"/>
            <a:ext cx="5154815" cy="60529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Глобальные тренды</a:t>
            </a:r>
          </a:p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endParaRPr lang="en-US" sz="2000" b="1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3BDA6D78-03FB-77C9-2BBC-4ACF1D8B7B58}"/>
              </a:ext>
            </a:extLst>
          </p:cNvPr>
          <p:cNvSpPr/>
          <p:nvPr/>
        </p:nvSpPr>
        <p:spPr>
          <a:xfrm>
            <a:off x="0" y="0"/>
            <a:ext cx="800859" cy="686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b="1" dirty="0"/>
              <a:t>7</a:t>
            </a:r>
            <a:endParaRPr lang="en-US" sz="36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CBEDD3-B7E4-4A8C-1FE8-952F336BEF49}"/>
              </a:ext>
            </a:extLst>
          </p:cNvPr>
          <p:cNvSpPr/>
          <p:nvPr/>
        </p:nvSpPr>
        <p:spPr>
          <a:xfrm>
            <a:off x="11785808" y="6277033"/>
            <a:ext cx="406192" cy="382152"/>
          </a:xfrm>
          <a:prstGeom prst="rect">
            <a:avLst/>
          </a:prstGeom>
          <a:solidFill>
            <a:srgbClr val="183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9</a:t>
            </a:r>
            <a:endParaRPr lang="en-US" sz="1400" b="1" dirty="0"/>
          </a:p>
        </p:txBody>
      </p:sp>
      <p:sp>
        <p:nvSpPr>
          <p:cNvPr id="5" name="RBContent37">
            <a:extLst>
              <a:ext uri="{FF2B5EF4-FFF2-40B4-BE49-F238E27FC236}">
                <a16:creationId xmlns:a16="http://schemas.microsoft.com/office/drawing/2014/main" id="{CFF7F23A-AEE1-E84F-933D-20BC6A5DA69C}"/>
              </a:ext>
            </a:extLst>
          </p:cNvPr>
          <p:cNvSpPr txBox="1">
            <a:spLocks/>
          </p:cNvSpPr>
          <p:nvPr/>
        </p:nvSpPr>
        <p:spPr>
          <a:xfrm>
            <a:off x="6019921" y="1137038"/>
            <a:ext cx="5154815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Тренды в России</a:t>
            </a:r>
            <a:endParaRPr lang="en-US" sz="2000" b="1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97D6C6-12A9-99A4-F665-EB2DE0989F4D}"/>
              </a:ext>
            </a:extLst>
          </p:cNvPr>
          <p:cNvSpPr txBox="1"/>
          <p:nvPr/>
        </p:nvSpPr>
        <p:spPr>
          <a:xfrm>
            <a:off x="1007451" y="2668023"/>
            <a:ext cx="484735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b="1" dirty="0">
                <a:latin typeface="+mn-lt"/>
                <a:ea typeface="Aptos" panose="020B0004020202020204" pitchFamily="34" charset="0"/>
              </a:rPr>
              <a:t>ЕС</a:t>
            </a:r>
            <a:r>
              <a:rPr lang="ru-RU" sz="1400" dirty="0">
                <a:latin typeface="+mn-lt"/>
                <a:ea typeface="Aptos" panose="020B0004020202020204" pitchFamily="34" charset="0"/>
              </a:rPr>
              <a:t>: на основе </a:t>
            </a:r>
            <a:r>
              <a:rPr lang="en-US" sz="1400" dirty="0">
                <a:latin typeface="+mn-lt"/>
                <a:ea typeface="Aptos" panose="020B0004020202020204" pitchFamily="34" charset="0"/>
              </a:rPr>
              <a:t>DMA</a:t>
            </a:r>
            <a:r>
              <a:rPr lang="ru-RU" sz="1400" dirty="0">
                <a:latin typeface="+mn-lt"/>
                <a:ea typeface="Aptos" panose="020B0004020202020204" pitchFamily="34" charset="0"/>
              </a:rPr>
              <a:t> 22 сервиса 6 крупнейших компаний должны выполнять следующие требования:</a:t>
            </a:r>
            <a:endParaRPr lang="en-US" sz="1400" dirty="0">
              <a:latin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07294B1-AAE3-CB0B-78F8-99C0BC86FC21}"/>
              </a:ext>
            </a:extLst>
          </p:cNvPr>
          <p:cNvSpPr txBox="1"/>
          <p:nvPr/>
        </p:nvSpPr>
        <p:spPr>
          <a:xfrm>
            <a:off x="643010" y="1908976"/>
            <a:ext cx="545299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Попытки "взломать" экосистемы tech-гигантов, чтобы дать пользователям и малым компаниям больше выбора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33491D-3A6D-B10A-DBC5-C4EF1626F0B2}"/>
              </a:ext>
            </a:extLst>
          </p:cNvPr>
          <p:cNvSpPr txBox="1"/>
          <p:nvPr/>
        </p:nvSpPr>
        <p:spPr>
          <a:xfrm>
            <a:off x="6470254" y="1872745"/>
            <a:ext cx="565309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18347B"/>
                </a:solidFill>
                <a:latin typeface="+mn-lt"/>
                <a:ea typeface="Aptos" panose="020B0004020202020204" pitchFamily="34" charset="0"/>
              </a:rPr>
              <a:t>Государство требует предустановки российских приложений:</a:t>
            </a:r>
            <a:endParaRPr lang="en-US" sz="1600" b="1" dirty="0">
              <a:solidFill>
                <a:srgbClr val="18347B"/>
              </a:solidFill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1F7ED3B-5CC5-D37C-6935-A39235536678}"/>
              </a:ext>
            </a:extLst>
          </p:cNvPr>
          <p:cNvSpPr/>
          <p:nvPr/>
        </p:nvSpPr>
        <p:spPr>
          <a:xfrm>
            <a:off x="7305221" y="2425556"/>
            <a:ext cx="4218020" cy="830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Wingdings" panose="05000000000000000000" pitchFamily="2" charset="2"/>
              <a:buChar char="q"/>
            </a:pPr>
            <a:r>
              <a:rPr lang="ru-RU" sz="1400" dirty="0">
                <a:solidFill>
                  <a:schemeClr val="tx1"/>
                </a:solidFill>
              </a:rPr>
              <a:t> с 1 сентября 2025 года магазин RuStore и мессенджер MAX должны быть предустановлены на всех смартфонах. </a:t>
            </a:r>
          </a:p>
        </p:txBody>
      </p:sp>
      <p:pic>
        <p:nvPicPr>
          <p:cNvPr id="18" name="Рисунок 5">
            <a:extLst>
              <a:ext uri="{FF2B5EF4-FFF2-40B4-BE49-F238E27FC236}">
                <a16:creationId xmlns:a16="http://schemas.microsoft.com/office/drawing/2014/main" id="{CC969DA4-BB21-7CEE-4680-7FCEA0747F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9778" y="1041712"/>
            <a:ext cx="734085" cy="49036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Рисунок 79" descr="Земной шар: Северная и Южная Америка со сплошной заливкой">
            <a:extLst>
              <a:ext uri="{FF2B5EF4-FFF2-40B4-BE49-F238E27FC236}">
                <a16:creationId xmlns:a16="http://schemas.microsoft.com/office/drawing/2014/main" id="{CA174988-5967-555F-E3D1-6921EA77DB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7264" y="920005"/>
            <a:ext cx="914400" cy="9144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261B1D3-C4D4-E0FE-88E0-FDB04C6D6DA0}"/>
              </a:ext>
            </a:extLst>
          </p:cNvPr>
          <p:cNvSpPr/>
          <p:nvPr/>
        </p:nvSpPr>
        <p:spPr>
          <a:xfrm>
            <a:off x="1579805" y="3599115"/>
            <a:ext cx="4218020" cy="14162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обмен данными с конкурентами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предоставление пользователям доступ к сгенерированным данным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нельзя запрещать пользователям удалять предустановленное программное обеспечение,ъ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нельзя давать преференции собственным продуктам и сервисам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неоходимо допустить сторонние продукты и сервисы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нельзя ограничивать взаимодействие потребителей за пределами своих платформ и др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3881CB-A38F-8C61-0967-0B86BE8CFAC7}"/>
              </a:ext>
            </a:extLst>
          </p:cNvPr>
          <p:cNvSpPr/>
          <p:nvPr/>
        </p:nvSpPr>
        <p:spPr>
          <a:xfrm>
            <a:off x="7305221" y="3052743"/>
            <a:ext cx="4218020" cy="2496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Wingdings" panose="05000000000000000000" pitchFamily="2" charset="2"/>
              <a:buChar char="q"/>
            </a:pPr>
            <a:r>
              <a:rPr lang="ru-RU" sz="1400" dirty="0">
                <a:solidFill>
                  <a:schemeClr val="tx1"/>
                </a:solidFill>
              </a:rPr>
              <a:t> в числе приложений, обязательных для предустановки на смартфоны и планшеты: «Яндекс Браузер с Алисой», поисковое приложение «Яндекс», 2ГИС, «Почта@Mail.ru», голосовой помощник «Маруся», платежная система Mir Pay, портал «Госуслуги» и др. Списки программ существуют также для компьютеров, ноутбуков и умных телевизоров.</a:t>
            </a:r>
          </a:p>
        </p:txBody>
      </p:sp>
    </p:spTree>
    <p:extLst>
      <p:ext uri="{BB962C8B-B14F-4D97-AF65-F5344CB8AC3E}">
        <p14:creationId xmlns:p14="http://schemas.microsoft.com/office/powerpoint/2010/main" val="17252144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%m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2&quot;&gt;&lt;elem m_fUsage=&quot;3.61459563616992163304E+00&quot;&gt;&lt;m_msothmcolidx val=&quot;0&quot;/&gt;&lt;m_rgb r=&quot;C2&quot; g=&quot;E8&quot; b=&quot;FD&quot;/&gt;&lt;/elem&gt;&lt;elem m_fUsage=&quot;1.89999999999999991118E+00&quot;&gt;&lt;m_msothmcolidx val=&quot;0&quot;/&gt;&lt;m_rgb r=&quot;00&quot; g=&quot;3C&quot; b=&quot;B3&quot;/&gt;&lt;/elem&gt;&lt;elem m_fUsage=&quot;1.67298483752424886895E+00&quot;&gt;&lt;m_msothmcolidx val=&quot;0&quot;/&gt;&lt;m_rgb r=&quot;05&quot; g=&quot;7C&quot; b=&quot;C1&quot;/&gt;&lt;/elem&gt;&lt;elem m_fUsage=&quot;1.00478077030211010445E+00&quot;&gt;&lt;m_msothmcolidx val=&quot;0&quot;/&gt;&lt;m_rgb r=&quot;00&quot; g=&quot;51&quot; b=&quot;9A&quot;/&gt;&lt;/elem&gt;&lt;elem m_fUsage=&quot;5.92708531234462432380E-01&quot;&gt;&lt;m_msothmcolidx val=&quot;0&quot;/&gt;&lt;m_rgb r=&quot;1D&quot; g=&quot;54&quot; b=&quot;95&quot;/&gt;&lt;/elem&gt;&lt;elem m_fUsage=&quot;5.31441000000000163261E-01&quot;&gt;&lt;m_msothmcolidx val=&quot;0&quot;/&gt;&lt;m_rgb r=&quot;18&quot; g=&quot;34&quot; b=&quot;7B&quot;/&gt;&lt;/elem&gt;&lt;elem m_fUsage=&quot;4.17312146278416173928E-01&quot;&gt;&lt;m_msothmcolidx val=&quot;0&quot;/&gt;&lt;m_rgb r=&quot;E0&quot; g=&quot;EB&quot; b=&quot;FF&quot;/&gt;&lt;/elem&gt;&lt;elem m_fUsage=&quot;2.09710295793258033603E-01&quot;&gt;&lt;m_msothmcolidx val=&quot;0&quot;/&gt;&lt;m_rgb r=&quot;C9&quot; g=&quot;E5&quot; b=&quot;FF&quot;/&gt;&lt;/elem&gt;&lt;elem m_fUsage=&quot;4.71033275744247026395E-02&quot;&gt;&lt;m_msothmcolidx val=&quot;0&quot;/&gt;&lt;m_rgb r=&quot;3B&quot; g=&quot;A2&quot; b=&quot;FF&quot;/&gt;&lt;/elem&gt;&lt;elem m_fUsage=&quot;1.99667811101603706950E-03&quot;&gt;&lt;m_msothmcolidx val=&quot;0&quot;/&gt;&lt;m_rgb r=&quot;47&quot; g=&quot;B6&quot; b=&quot;4E&quot;/&gt;&lt;/elem&gt;&lt;elem m_fUsage=&quot;1.79701029991443349265E-03&quot;&gt;&lt;m_msothmcolidx val=&quot;0&quot;/&gt;&lt;m_rgb r=&quot;FC&quot; g=&quot;B9&quot; b=&quot;21&quot;/&gt;&lt;/elem&gt;&lt;elem m_fUsage=&quot;1.61730926992299014339E-03&quot;&gt;&lt;m_msothmcolidx val=&quot;0&quot;/&gt;&lt;m_rgb r=&quot;F4&quot; g=&quot;80&quot; b=&quot;3E&quot;/&gt;&lt;/elem&gt;&lt;elem m_fUsage=&quot;1.45557834293069112905E-03&quot;&gt;&lt;m_msothmcolidx val=&quot;0&quot;/&gt;&lt;m_rgb r=&quot;25&quot; g=&quot;75&quot; b=&quot;BB&quot;/&gt;&lt;/elem&gt;&lt;elem m_fUsage=&quot;1.31002050863762210288E-03&quot;&gt;&lt;m_msothmcolidx val=&quot;0&quot;/&gt;&lt;m_rgb r=&quot;B2&quot; g=&quot;B4&quot; b=&quot;B6&quot;/&gt;&lt;/elem&gt;&lt;elem m_fUsage=&quot;1.17901845777385982754E-03&quot;&gt;&lt;m_msothmcolidx val=&quot;0&quot;/&gt;&lt;m_rgb r=&quot;04&quot; g=&quot;9D&quot; b=&quot;D8&quot;/&gt;&lt;/elem&gt;&lt;elem m_fUsage=&quot;2.19267797298886598688E-06&quot;&gt;&lt;m_msothmcolidx val=&quot;0&quot;/&gt;&lt;m_rgb r=&quot;00&quot; g=&quot;76&quot; b=&quot;E2&quot;/&gt;&lt;/elem&gt;&lt;elem m_fUsage=&quot;2.13934008208426317921E-06&quot;&gt;&lt;m_msothmcolidx val=&quot;0&quot;/&gt;&lt;m_rgb r=&quot;0B&quot; g=&quot;3A&quot; b=&quot;73&quot;/&gt;&lt;/elem&gt;&lt;elem m_fUsage=&quot;1.47101424681418287709E-06&quot;&gt;&lt;m_msothmcolidx val=&quot;0&quot;/&gt;&lt;m_rgb r=&quot;00&quot; g=&quot;51&quot; b=&quot;B8&quot;/&gt;&lt;/elem&gt;&lt;elem m_fUsage=&quot;1.40920080559712672979E-06&quot;&gt;&lt;m_msothmcolidx val=&quot;0&quot;/&gt;&lt;m_rgb r=&quot;79&quot; g=&quot;BF&quot; b=&quot;FF&quot;/&gt;&lt;/elem&gt;&lt;elem m_fUsage=&quot;2.97301691878447799519E-07&quot;&gt;&lt;m_msothmcolidx val=&quot;0&quot;/&gt;&lt;m_rgb r=&quot;BC&quot; g=&quot;DB&quot; b=&quot;F7&quot;/&gt;&lt;/elem&gt;&lt;elem m_fUsage=&quot;1.45678075318301134566E-07&quot;&gt;&lt;m_msothmcolidx val=&quot;0&quot;/&gt;&lt;m_rgb r=&quot;00&quot; g=&quot;84&quot; b=&quot;FB&quot;/&gt;&lt;/elem&gt;&lt;elem m_fUsage=&quot;1.84920089621091298679E-08&quot;&gt;&lt;m_msothmcolidx val=&quot;0&quot;/&gt;&lt;m_rgb r=&quot;FF&quot; g=&quot;66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MhMW7kRpq69QUaym87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EyXsyBQieBwJnUQ3AZ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EyXsyBQieBwJnUQ3AZ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MhMW7kRpq69QUaym87W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EyXsyBQieBwJnUQ3AZw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MhMW7kRpq69QUaym87W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шаблон">
  <a:themeElements>
    <a:clrScheme name="SBS">
      <a:dk1>
        <a:srgbClr val="000000"/>
      </a:dk1>
      <a:lt1>
        <a:srgbClr val="FFFFFF"/>
      </a:lt1>
      <a:dk2>
        <a:srgbClr val="000000"/>
      </a:dk2>
      <a:lt2>
        <a:srgbClr val="F1F2F1"/>
      </a:lt2>
      <a:accent1>
        <a:srgbClr val="18347B"/>
      </a:accent1>
      <a:accent2>
        <a:srgbClr val="6699FF"/>
      </a:accent2>
      <a:accent3>
        <a:srgbClr val="A7AFC9"/>
      </a:accent3>
      <a:accent4>
        <a:srgbClr val="057CC1"/>
      </a:accent4>
      <a:accent5>
        <a:srgbClr val="CFD1CF"/>
      </a:accent5>
      <a:accent6>
        <a:srgbClr val="FE8F00"/>
      </a:accent6>
      <a:hlink>
        <a:srgbClr val="A6AEC9"/>
      </a:hlink>
      <a:folHlink>
        <a:srgbClr val="6598FE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B050"/>
        </a:solidFill>
        <a:ln>
          <a:noFill/>
        </a:ln>
      </a:spPr>
      <a:bodyPr rtlCol="0" anchor="ctr"/>
      <a:lstStyle>
        <a:defPPr algn="ctr">
          <a:defRPr sz="1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85000"/>
            </a:schemeClr>
          </a:solidFill>
          <a:prstDash val="solid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/>
        </a:defPPr>
      </a:lstStyle>
    </a:txDef>
  </a:objectDefaults>
  <a:extraClrSchemeLst>
    <a:extraClrScheme>
      <a:clrScheme name="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шаблон">
  <a:themeElements>
    <a:clrScheme name="SBS">
      <a:dk1>
        <a:srgbClr val="000000"/>
      </a:dk1>
      <a:lt1>
        <a:srgbClr val="FFFFFF"/>
      </a:lt1>
      <a:dk2>
        <a:srgbClr val="000000"/>
      </a:dk2>
      <a:lt2>
        <a:srgbClr val="F1F2F1"/>
      </a:lt2>
      <a:accent1>
        <a:srgbClr val="18347B"/>
      </a:accent1>
      <a:accent2>
        <a:srgbClr val="6699FF"/>
      </a:accent2>
      <a:accent3>
        <a:srgbClr val="A7AFC9"/>
      </a:accent3>
      <a:accent4>
        <a:srgbClr val="057CC1"/>
      </a:accent4>
      <a:accent5>
        <a:srgbClr val="CFD1CF"/>
      </a:accent5>
      <a:accent6>
        <a:srgbClr val="FE8F00"/>
      </a:accent6>
      <a:hlink>
        <a:srgbClr val="A6AEC9"/>
      </a:hlink>
      <a:folHlink>
        <a:srgbClr val="6598FE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B050"/>
        </a:solidFill>
        <a:ln>
          <a:noFill/>
        </a:ln>
      </a:spPr>
      <a:bodyPr rtlCol="0" anchor="ctr"/>
      <a:lstStyle>
        <a:defPPr algn="ctr">
          <a:defRPr sz="1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85000"/>
            </a:schemeClr>
          </a:solidFill>
          <a:prstDash val="solid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/>
        </a:defPPr>
      </a:lstStyle>
    </a:txDef>
  </a:objectDefaults>
  <a:extraClrSchemeLst>
    <a:extraClrScheme>
      <a:clrScheme name="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шаблон">
  <a:themeElements>
    <a:clrScheme name="SBS">
      <a:dk1>
        <a:srgbClr val="000000"/>
      </a:dk1>
      <a:lt1>
        <a:srgbClr val="FFFFFF"/>
      </a:lt1>
      <a:dk2>
        <a:srgbClr val="000000"/>
      </a:dk2>
      <a:lt2>
        <a:srgbClr val="F1F2F1"/>
      </a:lt2>
      <a:accent1>
        <a:srgbClr val="18347B"/>
      </a:accent1>
      <a:accent2>
        <a:srgbClr val="6699FF"/>
      </a:accent2>
      <a:accent3>
        <a:srgbClr val="A7AFC9"/>
      </a:accent3>
      <a:accent4>
        <a:srgbClr val="057CC1"/>
      </a:accent4>
      <a:accent5>
        <a:srgbClr val="CFD1CF"/>
      </a:accent5>
      <a:accent6>
        <a:srgbClr val="FE8F00"/>
      </a:accent6>
      <a:hlink>
        <a:srgbClr val="A6AEC9"/>
      </a:hlink>
      <a:folHlink>
        <a:srgbClr val="6598FE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B050"/>
        </a:solidFill>
        <a:ln>
          <a:noFill/>
        </a:ln>
      </a:spPr>
      <a:bodyPr rtlCol="0" anchor="ctr"/>
      <a:lstStyle>
        <a:defPPr algn="ctr">
          <a:defRPr sz="1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85000"/>
            </a:schemeClr>
          </a:solidFill>
          <a:prstDash val="solid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/>
        </a:defPPr>
      </a:lstStyle>
    </a:txDef>
  </a:objectDefaults>
  <a:extraClrSchemeLst>
    <a:extraClrScheme>
      <a:clrScheme name="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6A6D979EF70CAA47835A1B98F74E76F9" ma:contentTypeVersion="8" ma:contentTypeDescription="Создание документа." ma:contentTypeScope="" ma:versionID="9220af5d3c5d1dbea84ea54c00474c53">
  <xsd:schema xmlns:xsd="http://www.w3.org/2001/XMLSchema" xmlns:xs="http://www.w3.org/2001/XMLSchema" xmlns:p="http://schemas.microsoft.com/office/2006/metadata/properties" xmlns:ns2="174bd812-987c-4b1c-9c83-aab66c0e104e" xmlns:ns3="4a94b8f3-fc2d-49c3-97bf-0cff9d7cf934" targetNamespace="http://schemas.microsoft.com/office/2006/metadata/properties" ma:root="true" ma:fieldsID="d9b1dba620b06866fbc3c9c96700f926" ns2:_="" ns3:_="">
    <xsd:import namespace="174bd812-987c-4b1c-9c83-aab66c0e104e"/>
    <xsd:import namespace="4a94b8f3-fc2d-49c3-97bf-0cff9d7cf9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4bd812-987c-4b1c-9c83-aab66c0e10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Теги изображений" ma:readOnly="false" ma:fieldId="{5cf76f15-5ced-4ddc-b409-7134ff3c332f}" ma:taxonomyMulti="true" ma:sspId="d1ba3fc3-fd59-42b6-a270-6448dafeb7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94b8f3-fc2d-49c3-97bf-0cff9d7cf934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53113a10-9ecf-4d9b-9141-6ec0a053fe3a}" ma:internalName="TaxCatchAll" ma:showField="CatchAllData" ma:web="3302309c-1e1c-4942-ab92-d037dd9432e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a94b8f3-fc2d-49c3-97bf-0cff9d7cf934" xsi:nil="true"/>
    <lcf76f155ced4ddcb4097134ff3c332f xmlns="174bd812-987c-4b1c-9c83-aab66c0e104e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22F9F4B-52F3-4938-B081-B6A04596E7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4bd812-987c-4b1c-9c83-aab66c0e104e"/>
    <ds:schemaRef ds:uri="4a94b8f3-fc2d-49c3-97bf-0cff9d7cf93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8916D8D-4DC1-450F-BE90-C781DF20E164}">
  <ds:schemaRefs>
    <ds:schemaRef ds:uri="http://schemas.microsoft.com/office/2006/metadata/properties"/>
    <ds:schemaRef ds:uri="http://purl.org/dc/dcmitype/"/>
    <ds:schemaRef ds:uri="http://purl.org/dc/elements/1.1/"/>
    <ds:schemaRef ds:uri="http://schemas.microsoft.com/office/2006/documentManagement/types"/>
    <ds:schemaRef ds:uri="174bd812-987c-4b1c-9c83-aab66c0e104e"/>
    <ds:schemaRef ds:uri="http://schemas.openxmlformats.org/package/2006/metadata/core-properties"/>
    <ds:schemaRef ds:uri="http://schemas.microsoft.com/office/infopath/2007/PartnerControls"/>
    <ds:schemaRef ds:uri="4a94b8f3-fc2d-49c3-97bf-0cff9d7cf934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69909075-9249-42CF-9BB5-6559E62D4F2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835</TotalTime>
  <Words>1404</Words>
  <Application>Microsoft Office PowerPoint</Application>
  <PresentationFormat>Широкоэкранный</PresentationFormat>
  <Paragraphs>132</Paragraphs>
  <Slides>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1" baseType="lpstr">
      <vt:lpstr>Aptos</vt:lpstr>
      <vt:lpstr>Arial</vt:lpstr>
      <vt:lpstr>Lucida Grande</vt:lpstr>
      <vt:lpstr>Lucida Grande Bold</vt:lpstr>
      <vt:lpstr>System Font Regular</vt:lpstr>
      <vt:lpstr>Trebuchet MS</vt:lpstr>
      <vt:lpstr>Verdana</vt:lpstr>
      <vt:lpstr>Wingdings</vt:lpstr>
      <vt:lpstr>шаблон</vt:lpstr>
      <vt:lpstr>1_шаблон</vt:lpstr>
      <vt:lpstr>2_шаблон</vt:lpstr>
      <vt:lpstr>Слайд think-cell</vt:lpstr>
      <vt:lpstr>Презентация PowerPoint</vt:lpstr>
      <vt:lpstr>Глобальные регуляторные тренды:</vt:lpstr>
      <vt:lpstr>Рост требований к основным субъектам (хостинг-провайдеры, операторы связи, ОРИ, пользователи)</vt:lpstr>
      <vt:lpstr>Регулирование искусственного интеллекта</vt:lpstr>
      <vt:lpstr>Борьба с дезинформацией и вредоносным контентом </vt:lpstr>
      <vt:lpstr>Кибербезопасность, защита данных и устойчивость КИИ</vt:lpstr>
      <vt:lpstr>Цифровой суверенитет и локализация данных</vt:lpstr>
      <vt:lpstr>«Монетизация» Интернета государством</vt:lpstr>
      <vt:lpstr>Обеспечение интероперабельности и борьба с доминированием крупных платформ</vt:lpstr>
    </vt:vector>
  </TitlesOfParts>
  <Manager/>
  <Company>SB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S</dc:title>
  <dc:subject/>
  <dc:creator>Анжелика Барбашина</dc:creator>
  <cp:keywords/>
  <dc:description/>
  <cp:lastModifiedBy>Elena Muntyan</cp:lastModifiedBy>
  <cp:revision>479</cp:revision>
  <cp:lastPrinted>2020-03-06T09:19:06Z</cp:lastPrinted>
  <dcterms:created xsi:type="dcterms:W3CDTF">2009-07-03T07:13:37Z</dcterms:created>
  <dcterms:modified xsi:type="dcterms:W3CDTF">2025-09-15T18:33:2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  <property fmtid="{D5CDD505-2E9C-101B-9397-08002B2CF9AE}" pid="3" name="ContentTypeId">
    <vt:lpwstr>0x0101006A6D979EF70CAA47835A1B98F74E76F9</vt:lpwstr>
  </property>
  <property fmtid="{D5CDD505-2E9C-101B-9397-08002B2CF9AE}" pid="4" name="MediaServiceImageTags">
    <vt:lpwstr/>
  </property>
</Properties>
</file>